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3"/>
  </p:notesMasterIdLst>
  <p:sldIdLst>
    <p:sldId id="256" r:id="rId2"/>
    <p:sldId id="257" r:id="rId3"/>
    <p:sldId id="276" r:id="rId4"/>
    <p:sldId id="258" r:id="rId5"/>
    <p:sldId id="277" r:id="rId6"/>
    <p:sldId id="270" r:id="rId7"/>
    <p:sldId id="274" r:id="rId8"/>
    <p:sldId id="272" r:id="rId9"/>
    <p:sldId id="285" r:id="rId10"/>
    <p:sldId id="286" r:id="rId11"/>
    <p:sldId id="287" r:id="rId12"/>
  </p:sldIdLst>
  <p:sldSz cx="12192000" cy="6858000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344" userDrawn="1">
          <p15:clr>
            <a:srgbClr val="A4A3A4"/>
          </p15:clr>
        </p15:guide>
        <p15:guide id="2" pos="438" userDrawn="1">
          <p15:clr>
            <a:srgbClr val="A4A3A4"/>
          </p15:clr>
        </p15:guide>
        <p15:guide id="3" pos="724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3EFF5"/>
    <a:srgbClr val="B7E4EF"/>
    <a:srgbClr val="49BED8"/>
    <a:srgbClr val="008AC6"/>
    <a:srgbClr val="6CB5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002" autoAdjust="0"/>
    <p:restoredTop sz="94660"/>
  </p:normalViewPr>
  <p:slideViewPr>
    <p:cSldViewPr>
      <p:cViewPr varScale="1">
        <p:scale>
          <a:sx n="86" d="100"/>
          <a:sy n="86" d="100"/>
        </p:scale>
        <p:origin x="374" y="67"/>
      </p:cViewPr>
      <p:guideLst>
        <p:guide orient="horz" pos="1344"/>
        <p:guide pos="438"/>
        <p:guide pos="724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199414393068018"/>
          <c:y val="9.6566205581142886E-2"/>
          <c:w val="0.37625402733029661"/>
          <c:h val="0.816341104050475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6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AB25-49AA-9CBE-37A61A7526FA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5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5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5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B25-49AA-9CBE-37A61A7526FA}"/>
              </c:ext>
            </c:extLst>
          </c:dPt>
          <c:dLbls>
            <c:dLbl>
              <c:idx val="0"/>
              <c:layout>
                <c:manualLayout>
                  <c:x val="7.636868981170282E-2"/>
                  <c:y val="-0.1699127741925550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6 950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AB25-49AA-9CBE-37A61A7526FA}"/>
                </c:ext>
              </c:extLst>
            </c:dLbl>
            <c:dLbl>
              <c:idx val="1"/>
              <c:layout>
                <c:manualLayout>
                  <c:x val="-7.1822696580198769E-2"/>
                  <c:y val="0.22200190156879415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88 879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AB25-49AA-9CBE-37A61A7526FA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Мужчины (из них 22 055 человек старше трудоспособного возраста)</c:v>
                </c:pt>
                <c:pt idx="1">
                  <c:v>Женщины (из них 48 184 человека старше трудоспособного возраста)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76950</c:v>
                </c:pt>
                <c:pt idx="1">
                  <c:v>1088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25-49AA-9CBE-37A61A7526F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pPr>
            <a:endParaRPr lang="ru-RU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pPr>
            <a:endParaRPr lang="ru-RU"/>
          </a:p>
        </c:txPr>
      </c:legendEntry>
      <c:layout>
        <c:manualLayout>
          <c:xMode val="edge"/>
          <c:yMode val="edge"/>
          <c:x val="0.5110724716630527"/>
          <c:y val="0.38019346730283254"/>
          <c:w val="0.45574139347027837"/>
          <c:h val="0.4975903197060652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936141256184451"/>
          <c:y val="2.2388716068584971E-2"/>
          <c:w val="0.43060183520618217"/>
          <c:h val="0.48850620730514088"/>
        </c:manualLayout>
      </c:layout>
      <c:doughnutChart>
        <c:varyColors val="1"/>
        <c:dLbls>
          <c:showLegendKey val="0"/>
          <c:showVal val="0"/>
          <c:showCatName val="1"/>
          <c:showSerName val="0"/>
          <c:showPercent val="1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8655334200971282"/>
          <c:y val="0.49360508532417491"/>
          <c:w val="0.55454091993254717"/>
          <c:h val="0.3751677691161842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ru-RU" sz="1000" b="0" i="0" u="none" strike="noStrike" kern="1200" baseline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pPr>
            <a:r>
              <a:rPr lang="ru-RU" sz="16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рачи</a:t>
            </a:r>
          </a:p>
        </c:rich>
      </c:tx>
      <c:layout>
        <c:manualLayout>
          <c:xMode val="edge"/>
          <c:yMode val="edge"/>
          <c:x val="0.33366696028483606"/>
          <c:y val="2.747204141732062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2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16317779832501231"/>
          <c:y val="0.14628537326655303"/>
          <c:w val="0.59777179947206271"/>
          <c:h val="0.65178232082651766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Врачи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6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4CD-426A-AD1F-A3295FA29DA1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5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5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5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4CD-426A-AD1F-A3295FA29DA1}"/>
              </c:ext>
            </c:extLst>
          </c:dPt>
          <c:dLbls>
            <c:dLbl>
              <c:idx val="0"/>
              <c:layout>
                <c:manualLayout>
                  <c:x val="0.19946543638008477"/>
                  <c:y val="1.162208281145816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400" b="0" i="0" u="none" strike="noStrike" kern="1200" baseline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defRPr>
                    </a:pPr>
                    <a:r>
                      <a:rPr lang="en-US" sz="1400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rPr>
                      <a:t>85,6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400" b="0" i="0" u="none" strike="noStrike" kern="1200" baseline="0">
                      <a:solidFill>
                        <a:schemeClr val="tx1"/>
                      </a:solidFill>
                      <a:latin typeface="Roboto" panose="02000000000000000000" pitchFamily="2" charset="0"/>
                      <a:ea typeface="Roboto" panose="02000000000000000000" pitchFamily="2" charset="0"/>
                      <a:cs typeface="Roboto" panose="02000000000000000000" pitchFamily="2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80622920204633"/>
                      <c:h val="0.176694399010201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1-64CD-426A-AD1F-A3295FA29DA1}"/>
                </c:ext>
              </c:extLst>
            </c:dLbl>
            <c:dLbl>
              <c:idx val="1"/>
              <c:layout>
                <c:manualLayout>
                  <c:x val="-0.11128062490411118"/>
                  <c:y val="-5.811041405729044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lang="en-US" sz="1400" b="0" i="0" u="none" strike="noStrike" kern="1200" baseline="0" smtClean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defRPr>
                    </a:pPr>
                    <a:r>
                      <a:rPr lang="en-US" sz="1400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rPr>
                      <a:t>14,4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lang="en-US" sz="1400" b="0" i="0" u="none" strike="noStrike" kern="1200" baseline="0" smtClean="0">
                      <a:solidFill>
                        <a:schemeClr val="tx1"/>
                      </a:solidFill>
                      <a:latin typeface="Roboto" panose="02000000000000000000" pitchFamily="2" charset="0"/>
                      <a:ea typeface="Roboto" panose="02000000000000000000" pitchFamily="2" charset="0"/>
                      <a:cs typeface="Roboto" panose="02000000000000000000" pitchFamily="2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8111446611752133"/>
                      <c:h val="0.19219050942547866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3-64CD-426A-AD1F-A3295FA29DA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Занято </c:v>
                </c:pt>
                <c:pt idx="1">
                  <c:v>Свободно 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213.5</c:v>
                </c:pt>
                <c:pt idx="1">
                  <c:v>35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E2F-468E-A442-A8BB860045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8448677660154164"/>
          <c:y val="0.78786770470270351"/>
          <c:w val="0.61942356933885645"/>
          <c:h val="0.1429577194118067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pPr>
            <a:r>
              <a:rPr lang="ru-RU" dirty="0">
                <a:solidFill>
                  <a:schemeClr val="tx1"/>
                </a:solidFill>
              </a:rPr>
              <a:t>Средний</a:t>
            </a:r>
            <a:r>
              <a:rPr lang="ru-RU" baseline="0" dirty="0">
                <a:solidFill>
                  <a:schemeClr val="tx1"/>
                </a:solidFill>
              </a:rPr>
              <a:t> мед. персонал</a:t>
            </a:r>
            <a:endParaRPr lang="ru-RU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6.828738605763382E-2"/>
          <c:y val="1.972398620968189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2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16317779832501231"/>
          <c:y val="0.14628537326655303"/>
          <c:w val="0.59777179947206271"/>
          <c:h val="0.65178232082651766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редний мед. Персонал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6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FD0-47F9-AADF-1CE5CCB957B9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5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5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5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FD0-47F9-AADF-1CE5CCB957B9}"/>
              </c:ext>
            </c:extLst>
          </c:dPt>
          <c:dLbls>
            <c:dLbl>
              <c:idx val="0"/>
              <c:layout>
                <c:manualLayout>
                  <c:x val="0.22886031843022725"/>
                  <c:y val="1.743342925873060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400" b="0" i="0" u="none" strike="noStrike" kern="1200" baseline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defRPr>
                    </a:pPr>
                    <a:r>
                      <a:rPr lang="en-US" sz="1400" dirty="0">
                        <a:solidFill>
                          <a:schemeClr val="tx1"/>
                        </a:solidFill>
                      </a:rPr>
                      <a:t>77,4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400" b="0" i="0" u="none" strike="noStrike" kern="1200" baseline="0">
                      <a:solidFill>
                        <a:schemeClr val="tx1"/>
                      </a:solidFill>
                      <a:latin typeface="Roboto" panose="02000000000000000000" pitchFamily="2" charset="0"/>
                      <a:ea typeface="Roboto" panose="02000000000000000000" pitchFamily="2" charset="0"/>
                      <a:cs typeface="Roboto" panose="02000000000000000000" pitchFamily="2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114105046529214"/>
                      <c:h val="0.1796386599891039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1-8FD0-47F9-AADF-1CE5CCB957B9}"/>
                </c:ext>
              </c:extLst>
            </c:dLbl>
            <c:dLbl>
              <c:idx val="1"/>
              <c:layout>
                <c:manualLayout>
                  <c:x val="-0.13227713455118745"/>
                  <c:y val="-3.2929234632464575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197" b="0" i="0" u="none" strike="noStrike" kern="1200" baseline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defRPr>
                    </a:pPr>
                    <a:r>
                      <a:rPr lang="en-US" sz="1400" dirty="0">
                        <a:solidFill>
                          <a:schemeClr val="tx1"/>
                        </a:solidFill>
                      </a:rPr>
                      <a:t>22,6% 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197" b="0" i="0" u="none" strike="noStrike" kern="1200" baseline="0">
                      <a:solidFill>
                        <a:schemeClr val="tx1"/>
                      </a:solidFill>
                      <a:latin typeface="Roboto" panose="02000000000000000000" pitchFamily="2" charset="0"/>
                      <a:ea typeface="Roboto" panose="02000000000000000000" pitchFamily="2" charset="0"/>
                      <a:cs typeface="Roboto" panose="02000000000000000000" pitchFamily="2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1181112151559875"/>
                      <c:h val="0.20288282561202009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3-8FD0-47F9-AADF-1CE5CCB957B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>
                  <a:solidFill>
                    <a:schemeClr val="tx2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Занято </c:v>
                </c:pt>
                <c:pt idx="1">
                  <c:v>Свободно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202.1</c:v>
                </c:pt>
                <c:pt idx="1">
                  <c:v>58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FD0-47F9-AADF-1CE5CCB957B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8868604546584772"/>
          <c:y val="0.79948978751416144"/>
          <c:w val="0.55223513981514838"/>
          <c:h val="0.1158396680171850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pPr>
            <a:r>
              <a:rPr lang="ru-RU" sz="1600" dirty="0">
                <a:solidFill>
                  <a:schemeClr val="tx1"/>
                </a:solidFill>
              </a:rPr>
              <a:t>Прочие</a:t>
            </a:r>
          </a:p>
        </c:rich>
      </c:tx>
      <c:layout>
        <c:manualLayout>
          <c:xMode val="edge"/>
          <c:yMode val="edge"/>
          <c:x val="0.30847134709899959"/>
          <c:y val="2.747204141732062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2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16317779832501231"/>
          <c:y val="0.14628537326655303"/>
          <c:w val="0.59777179947206271"/>
          <c:h val="0.65178232082651766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чие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6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C40-4E99-89A6-B7D267CC38A8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5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5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5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C40-4E99-89A6-B7D267CC38A8}"/>
              </c:ext>
            </c:extLst>
          </c:dPt>
          <c:dLbls>
            <c:dLbl>
              <c:idx val="0"/>
              <c:layout>
                <c:manualLayout>
                  <c:x val="0.26875337264113514"/>
                  <c:y val="-1.1622082811458092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400" b="0" i="0" u="none" strike="noStrike" kern="1200" baseline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defRPr>
                    </a:pPr>
                    <a:r>
                      <a:rPr lang="en-US" dirty="0">
                        <a:solidFill>
                          <a:schemeClr val="tx1"/>
                        </a:solidFill>
                      </a:rPr>
                      <a:t>91,3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400" b="0" i="0" u="none" strike="noStrike" kern="1200" baseline="0">
                      <a:solidFill>
                        <a:schemeClr val="tx1"/>
                      </a:solidFill>
                      <a:latin typeface="Roboto" panose="02000000000000000000" pitchFamily="2" charset="0"/>
                      <a:ea typeface="Roboto" panose="02000000000000000000" pitchFamily="2" charset="0"/>
                      <a:cs typeface="Roboto" panose="02000000000000000000" pitchFamily="2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794960612841957"/>
                      <c:h val="0.16195387649844031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1-5C40-4E99-89A6-B7D267CC38A8}"/>
                </c:ext>
              </c:extLst>
            </c:dLbl>
            <c:dLbl>
              <c:idx val="1"/>
              <c:layout>
                <c:manualLayout>
                  <c:x val="-0.11757936287502446"/>
                  <c:y val="-4.261430364201300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400" b="0" i="0" u="none" strike="noStrike" kern="1200" baseline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defRPr>
                    </a:pPr>
                    <a:r>
                      <a:rPr lang="en-US" dirty="0">
                        <a:solidFill>
                          <a:schemeClr val="tx1"/>
                        </a:solidFill>
                      </a:rPr>
                      <a:t>8,7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l">
                    <a:defRPr sz="1400" b="0" i="0" u="none" strike="noStrike" kern="1200" baseline="0">
                      <a:solidFill>
                        <a:schemeClr val="tx1"/>
                      </a:solidFill>
                      <a:latin typeface="Roboto" panose="02000000000000000000" pitchFamily="2" charset="0"/>
                      <a:ea typeface="Roboto" panose="02000000000000000000" pitchFamily="2" charset="0"/>
                      <a:cs typeface="Roboto" panose="02000000000000000000" pitchFamily="2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015618634966482"/>
                      <c:h val="0.15033179368698224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3-5C40-4E99-89A6-B7D267CC38A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l">
                  <a:defRPr sz="1400" b="0" i="0" u="none" strike="noStrike" kern="1200" baseline="0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>
                  <a:solidFill>
                    <a:schemeClr val="tx2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Занято </c:v>
                </c:pt>
                <c:pt idx="1">
                  <c:v>Свободно 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24.6</c:v>
                </c:pt>
                <c:pt idx="1">
                  <c:v>11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C40-4E99-89A6-B7D267CC38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8448677660154164"/>
          <c:y val="0.78399367709888412"/>
          <c:w val="0.61942356933885645"/>
          <c:h val="0.1545798022232647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E0FF83-89C9-47CF-9D73-A73019CD7224}" type="datetimeFigureOut">
              <a:rPr lang="ru-RU" smtClean="0"/>
              <a:t>20.02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1ABE42-DF6B-4041-8A18-9550ECF6B1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154453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5A3329-AC2D-4EC0-9FAA-B6A81AADE201}" type="datetime1">
              <a:rPr lang="ru-RU" smtClean="0"/>
              <a:t>20.02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382640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022757-706D-4CD7-B8CF-3CBBD03E631E}" type="datetime1">
              <a:rPr lang="ru-RU" smtClean="0"/>
              <a:t>20.02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487253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18F1ED-B14C-4C5D-B976-92E11D8C8A0C}" type="datetime1">
              <a:rPr lang="ru-RU" smtClean="0"/>
              <a:t>20.02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246863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A884C6-DE7E-4073-A310-72312183956D}" type="datetime1">
              <a:rPr lang="ru-RU" smtClean="0"/>
              <a:t>20.02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535712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FD240D-3E68-4A8C-8F50-A385B031D26E}" type="datetime1">
              <a:rPr lang="ru-RU" smtClean="0"/>
              <a:t>20.02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28005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DD33DE-49EC-4BFD-B08C-3B87429EFFD6}" type="datetime1">
              <a:rPr lang="ru-RU" smtClean="0"/>
              <a:t>20.02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024400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CD81AB-9E07-48FA-87C6-025CACECD77E}" type="datetime1">
              <a:rPr lang="ru-RU" smtClean="0"/>
              <a:t>20.02.202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352724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DD26CD-49EB-4993-9C20-303590C59A3A}" type="datetime1">
              <a:rPr lang="ru-RU" smtClean="0"/>
              <a:t>20.02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27168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802ACB-DDBC-48D6-8AE1-4960C160C7D8}" type="datetime1">
              <a:rPr lang="ru-RU" smtClean="0"/>
              <a:t>20.02.202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47262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B39D8D-02E5-4001-B20A-39D4B97EC3EF}" type="datetime1">
              <a:rPr lang="ru-RU" smtClean="0"/>
              <a:t>20.02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84238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9984AD-3945-40C6-8383-346068F596D6}" type="datetime1">
              <a:rPr lang="ru-RU" smtClean="0"/>
              <a:t>20.02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86228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E9B78A-BCEA-40FF-8649-2D0FF5DB2603}" type="datetime1">
              <a:rPr lang="ru-RU" smtClean="0"/>
              <a:t>20.02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12033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21ED73-5B17-489B-8AF9-E8BAB6DF7D7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698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oleObject" Target="../embeddings/oleObject1.bin"/><Relationship Id="rId7" Type="http://schemas.openxmlformats.org/officeDocument/2006/relationships/image" Target="../media/image1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microsoft.com/office/2007/relationships/hdphoto" Target="../media/hdphoto1.wdp"/><Relationship Id="rId5" Type="http://schemas.openxmlformats.org/officeDocument/2006/relationships/image" Target="../media/image15.png"/><Relationship Id="rId10" Type="http://schemas.openxmlformats.org/officeDocument/2006/relationships/image" Target="../media/image19.emf"/><Relationship Id="rId4" Type="http://schemas.openxmlformats.org/officeDocument/2006/relationships/image" Target="../media/image14.emf"/><Relationship Id="rId9" Type="http://schemas.openxmlformats.org/officeDocument/2006/relationships/image" Target="../media/image1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46"/>
          <a:stretch/>
        </p:blipFill>
        <p:spPr>
          <a:xfrm>
            <a:off x="3856" y="-27384"/>
            <a:ext cx="12188144" cy="6885384"/>
          </a:xfrm>
          <a:prstGeom prst="rect">
            <a:avLst/>
          </a:prstGeom>
        </p:spPr>
      </p:pic>
      <p:sp>
        <p:nvSpPr>
          <p:cNvPr id="8" name="Заголовок 1"/>
          <p:cNvSpPr>
            <a:spLocks noGrp="1"/>
          </p:cNvSpPr>
          <p:nvPr>
            <p:ph type="ctrTitle"/>
          </p:nvPr>
        </p:nvSpPr>
        <p:spPr>
          <a:xfrm>
            <a:off x="6384032" y="4293096"/>
            <a:ext cx="4355216" cy="594734"/>
          </a:xfrm>
        </p:spPr>
        <p:txBody>
          <a:bodyPr anchor="t">
            <a:noAutofit/>
          </a:bodyPr>
          <a:lstStyle/>
          <a:p>
            <a:pPr algn="l"/>
            <a:r>
              <a:rPr lang="ru-RU" sz="45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Годовой отчет</a:t>
            </a: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5303912" y="4969249"/>
            <a:ext cx="6768752" cy="113479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20000"/>
              </a:lnSpc>
            </a:pPr>
            <a:r>
              <a:rPr lang="ru-RU" sz="3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Главного врача ГБУЗ «ГП №2 ДЗМ» за 2023 год</a:t>
            </a:r>
          </a:p>
        </p:txBody>
      </p:sp>
    </p:spTree>
    <p:extLst>
      <p:ext uri="{BB962C8B-B14F-4D97-AF65-F5344CB8AC3E}">
        <p14:creationId xmlns:p14="http://schemas.microsoft.com/office/powerpoint/2010/main" val="30975803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t>10</a:t>
            </a:fld>
            <a:endParaRPr lang="ru-RU"/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A143C7DC-C92D-4597-804D-2E8A18F5D3FF}"/>
              </a:ext>
            </a:extLst>
          </p:cNvPr>
          <p:cNvSpPr/>
          <p:nvPr/>
        </p:nvSpPr>
        <p:spPr>
          <a:xfrm>
            <a:off x="335360" y="454767"/>
            <a:ext cx="5676691" cy="557071"/>
          </a:xfrm>
          <a:prstGeom prst="rect">
            <a:avLst/>
          </a:prstGeom>
          <a:solidFill>
            <a:srgbClr val="A735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80105C2D-6FA4-42A7-BC00-A3C5FA6F00CC}"/>
              </a:ext>
            </a:extLst>
          </p:cNvPr>
          <p:cNvSpPr/>
          <p:nvPr/>
        </p:nvSpPr>
        <p:spPr>
          <a:xfrm>
            <a:off x="6334130" y="454799"/>
            <a:ext cx="5669415" cy="557071"/>
          </a:xfrm>
          <a:prstGeom prst="rect">
            <a:avLst/>
          </a:prstGeom>
          <a:solidFill>
            <a:srgbClr val="90B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07B08E26-F254-484D-997F-BF278C93463B}"/>
              </a:ext>
            </a:extLst>
          </p:cNvPr>
          <p:cNvSpPr/>
          <p:nvPr/>
        </p:nvSpPr>
        <p:spPr>
          <a:xfrm>
            <a:off x="2524562" y="537061"/>
            <a:ext cx="1264520" cy="3924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defRPr/>
            </a:pPr>
            <a:r>
              <a:rPr lang="ru-RU" sz="2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РАЧИ</a:t>
            </a: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6FF694B3-F067-45FC-AEE3-C7A30CACD1F2}"/>
              </a:ext>
            </a:extLst>
          </p:cNvPr>
          <p:cNvSpPr/>
          <p:nvPr/>
        </p:nvSpPr>
        <p:spPr>
          <a:xfrm>
            <a:off x="8208511" y="526602"/>
            <a:ext cx="3137337" cy="3924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defRPr/>
            </a:pPr>
            <a:r>
              <a:rPr lang="ru-RU" sz="20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БОРУДОВАНИЕ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93A5FA80-6A15-4872-9B97-DDBA2A6D5B7F}"/>
              </a:ext>
            </a:extLst>
          </p:cNvPr>
          <p:cNvSpPr txBox="1">
            <a:spLocks/>
          </p:cNvSpPr>
          <p:nvPr/>
        </p:nvSpPr>
        <p:spPr>
          <a:xfrm>
            <a:off x="1559496" y="1856065"/>
            <a:ext cx="3565779" cy="3036539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Врач общей практики/терапевт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Уролог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Офтальмолог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Хирург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600" dirty="0" err="1">
                <a:latin typeface="Verdana" panose="020B0604030504040204" pitchFamily="34" charset="0"/>
                <a:ea typeface="Verdana" panose="020B0604030504040204" pitchFamily="34" charset="0"/>
              </a:rPr>
              <a:t>Оториноларинголог</a:t>
            </a:r>
            <a:endParaRPr lang="ru-RU" sz="16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Кардиолог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Невролог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Эндокринолог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ru-RU" sz="16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ru-RU" sz="1600" dirty="0"/>
          </a:p>
        </p:txBody>
      </p:sp>
      <p:sp>
        <p:nvSpPr>
          <p:cNvPr id="38" name="Rectangle 19">
            <a:extLst>
              <a:ext uri="{FF2B5EF4-FFF2-40B4-BE49-F238E27FC236}">
                <a16:creationId xmlns:a16="http://schemas.microsoft.com/office/drawing/2014/main" id="{FEE622DB-0430-4AE1-A863-BA925DDCCFF3}"/>
              </a:ext>
            </a:extLst>
          </p:cNvPr>
          <p:cNvSpPr/>
          <p:nvPr/>
        </p:nvSpPr>
        <p:spPr>
          <a:xfrm>
            <a:off x="1549624" y="4540758"/>
            <a:ext cx="4782387" cy="19908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В головных зданиях дополнительно специалисты </a:t>
            </a:r>
            <a:r>
              <a:rPr lang="ru-RU" sz="1600" b="1" dirty="0">
                <a:solidFill>
                  <a:srgbClr val="48BED8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5</a:t>
            </a: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узких направлений: </a:t>
            </a:r>
          </a:p>
          <a:p>
            <a:pPr marL="188984" indent="-188984" defTabSz="755934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Аллерголог-иммунолог </a:t>
            </a:r>
          </a:p>
          <a:p>
            <a:pPr marL="188984" indent="-188984" defTabSz="755934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Гастроэнтеролог</a:t>
            </a:r>
          </a:p>
          <a:p>
            <a:pPr marL="188984" indent="-188984" defTabSz="755934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Пульмонолог</a:t>
            </a:r>
          </a:p>
          <a:p>
            <a:pPr marL="188984" indent="-188984" defTabSz="755934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Колопроктолог</a:t>
            </a:r>
          </a:p>
          <a:p>
            <a:pPr marL="188984" indent="-188984" defTabSz="755934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</a:rPr>
              <a:t>Инфекционист</a:t>
            </a:r>
          </a:p>
        </p:txBody>
      </p:sp>
      <p:sp>
        <p:nvSpPr>
          <p:cNvPr id="39" name="Freeform 4859">
            <a:extLst>
              <a:ext uri="{FF2B5EF4-FFF2-40B4-BE49-F238E27FC236}">
                <a16:creationId xmlns:a16="http://schemas.microsoft.com/office/drawing/2014/main" id="{786ECC18-E725-47D7-83C1-0C328F090FD3}"/>
              </a:ext>
            </a:extLst>
          </p:cNvPr>
          <p:cNvSpPr>
            <a:spLocks noEditPoints="1"/>
          </p:cNvSpPr>
          <p:nvPr/>
        </p:nvSpPr>
        <p:spPr bwMode="auto">
          <a:xfrm>
            <a:off x="443375" y="2099987"/>
            <a:ext cx="630355" cy="883356"/>
          </a:xfrm>
          <a:custGeom>
            <a:avLst/>
            <a:gdLst>
              <a:gd name="T0" fmla="*/ 184 w 294"/>
              <a:gd name="T1" fmla="*/ 408 h 412"/>
              <a:gd name="T2" fmla="*/ 112 w 294"/>
              <a:gd name="T3" fmla="*/ 410 h 412"/>
              <a:gd name="T4" fmla="*/ 54 w 294"/>
              <a:gd name="T5" fmla="*/ 390 h 412"/>
              <a:gd name="T6" fmla="*/ 0 w 294"/>
              <a:gd name="T7" fmla="*/ 350 h 412"/>
              <a:gd name="T8" fmla="*/ 14 w 294"/>
              <a:gd name="T9" fmla="*/ 202 h 412"/>
              <a:gd name="T10" fmla="*/ 80 w 294"/>
              <a:gd name="T11" fmla="*/ 166 h 412"/>
              <a:gd name="T12" fmla="*/ 74 w 294"/>
              <a:gd name="T13" fmla="*/ 210 h 412"/>
              <a:gd name="T14" fmla="*/ 78 w 294"/>
              <a:gd name="T15" fmla="*/ 240 h 412"/>
              <a:gd name="T16" fmla="*/ 112 w 294"/>
              <a:gd name="T17" fmla="*/ 240 h 412"/>
              <a:gd name="T18" fmla="*/ 114 w 294"/>
              <a:gd name="T19" fmla="*/ 210 h 412"/>
              <a:gd name="T20" fmla="*/ 170 w 294"/>
              <a:gd name="T21" fmla="*/ 166 h 412"/>
              <a:gd name="T22" fmla="*/ 150 w 294"/>
              <a:gd name="T23" fmla="*/ 226 h 412"/>
              <a:gd name="T24" fmla="*/ 122 w 294"/>
              <a:gd name="T25" fmla="*/ 266 h 412"/>
              <a:gd name="T26" fmla="*/ 124 w 294"/>
              <a:gd name="T27" fmla="*/ 340 h 412"/>
              <a:gd name="T28" fmla="*/ 156 w 294"/>
              <a:gd name="T29" fmla="*/ 344 h 412"/>
              <a:gd name="T30" fmla="*/ 162 w 294"/>
              <a:gd name="T31" fmla="*/ 328 h 412"/>
              <a:gd name="T32" fmla="*/ 144 w 294"/>
              <a:gd name="T33" fmla="*/ 276 h 412"/>
              <a:gd name="T34" fmla="*/ 154 w 294"/>
              <a:gd name="T35" fmla="*/ 250 h 412"/>
              <a:gd name="T36" fmla="*/ 180 w 294"/>
              <a:gd name="T37" fmla="*/ 240 h 412"/>
              <a:gd name="T38" fmla="*/ 212 w 294"/>
              <a:gd name="T39" fmla="*/ 256 h 412"/>
              <a:gd name="T40" fmla="*/ 218 w 294"/>
              <a:gd name="T41" fmla="*/ 322 h 412"/>
              <a:gd name="T42" fmla="*/ 200 w 294"/>
              <a:gd name="T43" fmla="*/ 328 h 412"/>
              <a:gd name="T44" fmla="*/ 206 w 294"/>
              <a:gd name="T45" fmla="*/ 344 h 412"/>
              <a:gd name="T46" fmla="*/ 240 w 294"/>
              <a:gd name="T47" fmla="*/ 390 h 412"/>
              <a:gd name="T48" fmla="*/ 294 w 294"/>
              <a:gd name="T49" fmla="*/ 250 h 412"/>
              <a:gd name="T50" fmla="*/ 272 w 294"/>
              <a:gd name="T51" fmla="*/ 192 h 412"/>
              <a:gd name="T52" fmla="*/ 192 w 294"/>
              <a:gd name="T53" fmla="*/ 166 h 412"/>
              <a:gd name="T54" fmla="*/ 202 w 294"/>
              <a:gd name="T55" fmla="*/ 222 h 412"/>
              <a:gd name="T56" fmla="*/ 236 w 294"/>
              <a:gd name="T57" fmla="*/ 256 h 412"/>
              <a:gd name="T58" fmla="*/ 240 w 294"/>
              <a:gd name="T59" fmla="*/ 334 h 412"/>
              <a:gd name="T60" fmla="*/ 92 w 294"/>
              <a:gd name="T61" fmla="*/ 122 h 412"/>
              <a:gd name="T62" fmla="*/ 136 w 294"/>
              <a:gd name="T63" fmla="*/ 146 h 412"/>
              <a:gd name="T64" fmla="*/ 178 w 294"/>
              <a:gd name="T65" fmla="*/ 140 h 412"/>
              <a:gd name="T66" fmla="*/ 214 w 294"/>
              <a:gd name="T67" fmla="*/ 106 h 412"/>
              <a:gd name="T68" fmla="*/ 148 w 294"/>
              <a:gd name="T69" fmla="*/ 84 h 412"/>
              <a:gd name="T70" fmla="*/ 82 w 294"/>
              <a:gd name="T71" fmla="*/ 106 h 412"/>
              <a:gd name="T72" fmla="*/ 148 w 294"/>
              <a:gd name="T73" fmla="*/ 0 h 412"/>
              <a:gd name="T74" fmla="*/ 208 w 294"/>
              <a:gd name="T75" fmla="*/ 32 h 412"/>
              <a:gd name="T76" fmla="*/ 220 w 294"/>
              <a:gd name="T77" fmla="*/ 90 h 412"/>
              <a:gd name="T78" fmla="*/ 148 w 294"/>
              <a:gd name="T79" fmla="*/ 68 h 412"/>
              <a:gd name="T80" fmla="*/ 76 w 294"/>
              <a:gd name="T81" fmla="*/ 90 h 412"/>
              <a:gd name="T82" fmla="*/ 80 w 294"/>
              <a:gd name="T83" fmla="*/ 44 h 412"/>
              <a:gd name="T84" fmla="*/ 132 w 294"/>
              <a:gd name="T85" fmla="*/ 2 h 412"/>
              <a:gd name="T86" fmla="*/ 156 w 294"/>
              <a:gd name="T87" fmla="*/ 18 h 412"/>
              <a:gd name="T88" fmla="*/ 148 w 294"/>
              <a:gd name="T89" fmla="*/ 10 h 412"/>
              <a:gd name="T90" fmla="*/ 140 w 294"/>
              <a:gd name="T91" fmla="*/ 28 h 412"/>
              <a:gd name="T92" fmla="*/ 122 w 294"/>
              <a:gd name="T93" fmla="*/ 34 h 412"/>
              <a:gd name="T94" fmla="*/ 126 w 294"/>
              <a:gd name="T95" fmla="*/ 44 h 412"/>
              <a:gd name="T96" fmla="*/ 140 w 294"/>
              <a:gd name="T97" fmla="*/ 58 h 412"/>
              <a:gd name="T98" fmla="*/ 150 w 294"/>
              <a:gd name="T99" fmla="*/ 62 h 412"/>
              <a:gd name="T100" fmla="*/ 166 w 294"/>
              <a:gd name="T101" fmla="*/ 44 h 412"/>
              <a:gd name="T102" fmla="*/ 174 w 294"/>
              <a:gd name="T103" fmla="*/ 36 h 412"/>
              <a:gd name="T104" fmla="*/ 166 w 294"/>
              <a:gd name="T105" fmla="*/ 28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94" h="412">
                <a:moveTo>
                  <a:pt x="218" y="344"/>
                </a:moveTo>
                <a:lnTo>
                  <a:pt x="218" y="400"/>
                </a:lnTo>
                <a:lnTo>
                  <a:pt x="218" y="400"/>
                </a:lnTo>
                <a:lnTo>
                  <a:pt x="202" y="404"/>
                </a:lnTo>
                <a:lnTo>
                  <a:pt x="184" y="408"/>
                </a:lnTo>
                <a:lnTo>
                  <a:pt x="166" y="412"/>
                </a:lnTo>
                <a:lnTo>
                  <a:pt x="148" y="412"/>
                </a:lnTo>
                <a:lnTo>
                  <a:pt x="148" y="412"/>
                </a:lnTo>
                <a:lnTo>
                  <a:pt x="130" y="412"/>
                </a:lnTo>
                <a:lnTo>
                  <a:pt x="112" y="410"/>
                </a:lnTo>
                <a:lnTo>
                  <a:pt x="94" y="406"/>
                </a:lnTo>
                <a:lnTo>
                  <a:pt x="78" y="400"/>
                </a:lnTo>
                <a:lnTo>
                  <a:pt x="78" y="264"/>
                </a:lnTo>
                <a:lnTo>
                  <a:pt x="54" y="264"/>
                </a:lnTo>
                <a:lnTo>
                  <a:pt x="54" y="390"/>
                </a:lnTo>
                <a:lnTo>
                  <a:pt x="54" y="390"/>
                </a:lnTo>
                <a:lnTo>
                  <a:pt x="40" y="382"/>
                </a:lnTo>
                <a:lnTo>
                  <a:pt x="26" y="372"/>
                </a:lnTo>
                <a:lnTo>
                  <a:pt x="12" y="362"/>
                </a:lnTo>
                <a:lnTo>
                  <a:pt x="0" y="350"/>
                </a:lnTo>
                <a:lnTo>
                  <a:pt x="0" y="248"/>
                </a:lnTo>
                <a:lnTo>
                  <a:pt x="0" y="248"/>
                </a:lnTo>
                <a:lnTo>
                  <a:pt x="2" y="232"/>
                </a:lnTo>
                <a:lnTo>
                  <a:pt x="6" y="216"/>
                </a:lnTo>
                <a:lnTo>
                  <a:pt x="14" y="202"/>
                </a:lnTo>
                <a:lnTo>
                  <a:pt x="24" y="190"/>
                </a:lnTo>
                <a:lnTo>
                  <a:pt x="36" y="180"/>
                </a:lnTo>
                <a:lnTo>
                  <a:pt x="48" y="172"/>
                </a:lnTo>
                <a:lnTo>
                  <a:pt x="64" y="168"/>
                </a:lnTo>
                <a:lnTo>
                  <a:pt x="80" y="166"/>
                </a:lnTo>
                <a:lnTo>
                  <a:pt x="84" y="166"/>
                </a:lnTo>
                <a:lnTo>
                  <a:pt x="84" y="200"/>
                </a:lnTo>
                <a:lnTo>
                  <a:pt x="84" y="200"/>
                </a:lnTo>
                <a:lnTo>
                  <a:pt x="78" y="204"/>
                </a:lnTo>
                <a:lnTo>
                  <a:pt x="74" y="210"/>
                </a:lnTo>
                <a:lnTo>
                  <a:pt x="72" y="216"/>
                </a:lnTo>
                <a:lnTo>
                  <a:pt x="70" y="222"/>
                </a:lnTo>
                <a:lnTo>
                  <a:pt x="70" y="222"/>
                </a:lnTo>
                <a:lnTo>
                  <a:pt x="72" y="232"/>
                </a:lnTo>
                <a:lnTo>
                  <a:pt x="78" y="240"/>
                </a:lnTo>
                <a:lnTo>
                  <a:pt x="84" y="246"/>
                </a:lnTo>
                <a:lnTo>
                  <a:pt x="94" y="248"/>
                </a:lnTo>
                <a:lnTo>
                  <a:pt x="94" y="248"/>
                </a:lnTo>
                <a:lnTo>
                  <a:pt x="104" y="246"/>
                </a:lnTo>
                <a:lnTo>
                  <a:pt x="112" y="240"/>
                </a:lnTo>
                <a:lnTo>
                  <a:pt x="116" y="232"/>
                </a:lnTo>
                <a:lnTo>
                  <a:pt x="118" y="222"/>
                </a:lnTo>
                <a:lnTo>
                  <a:pt x="118" y="222"/>
                </a:lnTo>
                <a:lnTo>
                  <a:pt x="118" y="216"/>
                </a:lnTo>
                <a:lnTo>
                  <a:pt x="114" y="210"/>
                </a:lnTo>
                <a:lnTo>
                  <a:pt x="110" y="204"/>
                </a:lnTo>
                <a:lnTo>
                  <a:pt x="104" y="200"/>
                </a:lnTo>
                <a:lnTo>
                  <a:pt x="104" y="166"/>
                </a:lnTo>
                <a:lnTo>
                  <a:pt x="170" y="166"/>
                </a:lnTo>
                <a:lnTo>
                  <a:pt x="170" y="166"/>
                </a:lnTo>
                <a:lnTo>
                  <a:pt x="170" y="168"/>
                </a:lnTo>
                <a:lnTo>
                  <a:pt x="170" y="218"/>
                </a:lnTo>
                <a:lnTo>
                  <a:pt x="170" y="218"/>
                </a:lnTo>
                <a:lnTo>
                  <a:pt x="160" y="222"/>
                </a:lnTo>
                <a:lnTo>
                  <a:pt x="150" y="226"/>
                </a:lnTo>
                <a:lnTo>
                  <a:pt x="142" y="232"/>
                </a:lnTo>
                <a:lnTo>
                  <a:pt x="136" y="238"/>
                </a:lnTo>
                <a:lnTo>
                  <a:pt x="130" y="248"/>
                </a:lnTo>
                <a:lnTo>
                  <a:pt x="126" y="256"/>
                </a:lnTo>
                <a:lnTo>
                  <a:pt x="122" y="266"/>
                </a:lnTo>
                <a:lnTo>
                  <a:pt x="122" y="276"/>
                </a:lnTo>
                <a:lnTo>
                  <a:pt x="122" y="332"/>
                </a:lnTo>
                <a:lnTo>
                  <a:pt x="122" y="332"/>
                </a:lnTo>
                <a:lnTo>
                  <a:pt x="122" y="338"/>
                </a:lnTo>
                <a:lnTo>
                  <a:pt x="124" y="340"/>
                </a:lnTo>
                <a:lnTo>
                  <a:pt x="128" y="344"/>
                </a:lnTo>
                <a:lnTo>
                  <a:pt x="132" y="344"/>
                </a:lnTo>
                <a:lnTo>
                  <a:pt x="152" y="344"/>
                </a:lnTo>
                <a:lnTo>
                  <a:pt x="152" y="344"/>
                </a:lnTo>
                <a:lnTo>
                  <a:pt x="156" y="344"/>
                </a:lnTo>
                <a:lnTo>
                  <a:pt x="160" y="340"/>
                </a:lnTo>
                <a:lnTo>
                  <a:pt x="162" y="338"/>
                </a:lnTo>
                <a:lnTo>
                  <a:pt x="164" y="332"/>
                </a:lnTo>
                <a:lnTo>
                  <a:pt x="164" y="332"/>
                </a:lnTo>
                <a:lnTo>
                  <a:pt x="162" y="328"/>
                </a:lnTo>
                <a:lnTo>
                  <a:pt x="160" y="326"/>
                </a:lnTo>
                <a:lnTo>
                  <a:pt x="156" y="322"/>
                </a:lnTo>
                <a:lnTo>
                  <a:pt x="152" y="322"/>
                </a:lnTo>
                <a:lnTo>
                  <a:pt x="144" y="322"/>
                </a:lnTo>
                <a:lnTo>
                  <a:pt x="144" y="276"/>
                </a:lnTo>
                <a:lnTo>
                  <a:pt x="144" y="276"/>
                </a:lnTo>
                <a:lnTo>
                  <a:pt x="144" y="270"/>
                </a:lnTo>
                <a:lnTo>
                  <a:pt x="146" y="262"/>
                </a:lnTo>
                <a:lnTo>
                  <a:pt x="150" y="256"/>
                </a:lnTo>
                <a:lnTo>
                  <a:pt x="154" y="250"/>
                </a:lnTo>
                <a:lnTo>
                  <a:pt x="160" y="246"/>
                </a:lnTo>
                <a:lnTo>
                  <a:pt x="166" y="242"/>
                </a:lnTo>
                <a:lnTo>
                  <a:pt x="174" y="240"/>
                </a:lnTo>
                <a:lnTo>
                  <a:pt x="180" y="240"/>
                </a:lnTo>
                <a:lnTo>
                  <a:pt x="180" y="240"/>
                </a:lnTo>
                <a:lnTo>
                  <a:pt x="188" y="240"/>
                </a:lnTo>
                <a:lnTo>
                  <a:pt x="196" y="242"/>
                </a:lnTo>
                <a:lnTo>
                  <a:pt x="202" y="246"/>
                </a:lnTo>
                <a:lnTo>
                  <a:pt x="208" y="250"/>
                </a:lnTo>
                <a:lnTo>
                  <a:pt x="212" y="256"/>
                </a:lnTo>
                <a:lnTo>
                  <a:pt x="216" y="262"/>
                </a:lnTo>
                <a:lnTo>
                  <a:pt x="218" y="270"/>
                </a:lnTo>
                <a:lnTo>
                  <a:pt x="218" y="276"/>
                </a:lnTo>
                <a:lnTo>
                  <a:pt x="218" y="278"/>
                </a:lnTo>
                <a:lnTo>
                  <a:pt x="218" y="322"/>
                </a:lnTo>
                <a:lnTo>
                  <a:pt x="210" y="322"/>
                </a:lnTo>
                <a:lnTo>
                  <a:pt x="210" y="322"/>
                </a:lnTo>
                <a:lnTo>
                  <a:pt x="206" y="322"/>
                </a:lnTo>
                <a:lnTo>
                  <a:pt x="202" y="326"/>
                </a:lnTo>
                <a:lnTo>
                  <a:pt x="200" y="328"/>
                </a:lnTo>
                <a:lnTo>
                  <a:pt x="198" y="332"/>
                </a:lnTo>
                <a:lnTo>
                  <a:pt x="198" y="332"/>
                </a:lnTo>
                <a:lnTo>
                  <a:pt x="200" y="338"/>
                </a:lnTo>
                <a:lnTo>
                  <a:pt x="202" y="340"/>
                </a:lnTo>
                <a:lnTo>
                  <a:pt x="206" y="344"/>
                </a:lnTo>
                <a:lnTo>
                  <a:pt x="210" y="344"/>
                </a:lnTo>
                <a:lnTo>
                  <a:pt x="218" y="344"/>
                </a:lnTo>
                <a:close/>
                <a:moveTo>
                  <a:pt x="240" y="334"/>
                </a:moveTo>
                <a:lnTo>
                  <a:pt x="240" y="390"/>
                </a:lnTo>
                <a:lnTo>
                  <a:pt x="240" y="390"/>
                </a:lnTo>
                <a:lnTo>
                  <a:pt x="254" y="382"/>
                </a:lnTo>
                <a:lnTo>
                  <a:pt x="270" y="372"/>
                </a:lnTo>
                <a:lnTo>
                  <a:pt x="282" y="362"/>
                </a:lnTo>
                <a:lnTo>
                  <a:pt x="294" y="350"/>
                </a:lnTo>
                <a:lnTo>
                  <a:pt x="294" y="250"/>
                </a:lnTo>
                <a:lnTo>
                  <a:pt x="294" y="250"/>
                </a:lnTo>
                <a:lnTo>
                  <a:pt x="294" y="234"/>
                </a:lnTo>
                <a:lnTo>
                  <a:pt x="288" y="218"/>
                </a:lnTo>
                <a:lnTo>
                  <a:pt x="282" y="204"/>
                </a:lnTo>
                <a:lnTo>
                  <a:pt x="272" y="192"/>
                </a:lnTo>
                <a:lnTo>
                  <a:pt x="260" y="182"/>
                </a:lnTo>
                <a:lnTo>
                  <a:pt x="246" y="174"/>
                </a:lnTo>
                <a:lnTo>
                  <a:pt x="230" y="168"/>
                </a:lnTo>
                <a:lnTo>
                  <a:pt x="214" y="166"/>
                </a:lnTo>
                <a:lnTo>
                  <a:pt x="192" y="166"/>
                </a:lnTo>
                <a:lnTo>
                  <a:pt x="192" y="166"/>
                </a:lnTo>
                <a:lnTo>
                  <a:pt x="192" y="168"/>
                </a:lnTo>
                <a:lnTo>
                  <a:pt x="192" y="218"/>
                </a:lnTo>
                <a:lnTo>
                  <a:pt x="192" y="218"/>
                </a:lnTo>
                <a:lnTo>
                  <a:pt x="202" y="222"/>
                </a:lnTo>
                <a:lnTo>
                  <a:pt x="212" y="226"/>
                </a:lnTo>
                <a:lnTo>
                  <a:pt x="220" y="232"/>
                </a:lnTo>
                <a:lnTo>
                  <a:pt x="226" y="238"/>
                </a:lnTo>
                <a:lnTo>
                  <a:pt x="232" y="248"/>
                </a:lnTo>
                <a:lnTo>
                  <a:pt x="236" y="256"/>
                </a:lnTo>
                <a:lnTo>
                  <a:pt x="240" y="266"/>
                </a:lnTo>
                <a:lnTo>
                  <a:pt x="240" y="276"/>
                </a:lnTo>
                <a:lnTo>
                  <a:pt x="240" y="332"/>
                </a:lnTo>
                <a:lnTo>
                  <a:pt x="240" y="332"/>
                </a:lnTo>
                <a:lnTo>
                  <a:pt x="240" y="334"/>
                </a:lnTo>
                <a:lnTo>
                  <a:pt x="240" y="334"/>
                </a:lnTo>
                <a:close/>
                <a:moveTo>
                  <a:pt x="82" y="106"/>
                </a:moveTo>
                <a:lnTo>
                  <a:pt x="82" y="106"/>
                </a:lnTo>
                <a:lnTo>
                  <a:pt x="86" y="116"/>
                </a:lnTo>
                <a:lnTo>
                  <a:pt x="92" y="122"/>
                </a:lnTo>
                <a:lnTo>
                  <a:pt x="100" y="130"/>
                </a:lnTo>
                <a:lnTo>
                  <a:pt x="108" y="136"/>
                </a:lnTo>
                <a:lnTo>
                  <a:pt x="118" y="140"/>
                </a:lnTo>
                <a:lnTo>
                  <a:pt x="126" y="144"/>
                </a:lnTo>
                <a:lnTo>
                  <a:pt x="136" y="146"/>
                </a:lnTo>
                <a:lnTo>
                  <a:pt x="148" y="148"/>
                </a:lnTo>
                <a:lnTo>
                  <a:pt x="148" y="148"/>
                </a:lnTo>
                <a:lnTo>
                  <a:pt x="158" y="146"/>
                </a:lnTo>
                <a:lnTo>
                  <a:pt x="168" y="144"/>
                </a:lnTo>
                <a:lnTo>
                  <a:pt x="178" y="140"/>
                </a:lnTo>
                <a:lnTo>
                  <a:pt x="186" y="136"/>
                </a:lnTo>
                <a:lnTo>
                  <a:pt x="196" y="130"/>
                </a:lnTo>
                <a:lnTo>
                  <a:pt x="202" y="122"/>
                </a:lnTo>
                <a:lnTo>
                  <a:pt x="208" y="116"/>
                </a:lnTo>
                <a:lnTo>
                  <a:pt x="214" y="106"/>
                </a:lnTo>
                <a:lnTo>
                  <a:pt x="214" y="106"/>
                </a:lnTo>
                <a:lnTo>
                  <a:pt x="200" y="96"/>
                </a:lnTo>
                <a:lnTo>
                  <a:pt x="184" y="90"/>
                </a:lnTo>
                <a:lnTo>
                  <a:pt x="166" y="84"/>
                </a:lnTo>
                <a:lnTo>
                  <a:pt x="148" y="84"/>
                </a:lnTo>
                <a:lnTo>
                  <a:pt x="148" y="84"/>
                </a:lnTo>
                <a:lnTo>
                  <a:pt x="130" y="84"/>
                </a:lnTo>
                <a:lnTo>
                  <a:pt x="112" y="90"/>
                </a:lnTo>
                <a:lnTo>
                  <a:pt x="96" y="96"/>
                </a:lnTo>
                <a:lnTo>
                  <a:pt x="82" y="106"/>
                </a:lnTo>
                <a:lnTo>
                  <a:pt x="82" y="106"/>
                </a:lnTo>
                <a:close/>
                <a:moveTo>
                  <a:pt x="148" y="0"/>
                </a:moveTo>
                <a:lnTo>
                  <a:pt x="148" y="0"/>
                </a:lnTo>
                <a:lnTo>
                  <a:pt x="148" y="0"/>
                </a:lnTo>
                <a:lnTo>
                  <a:pt x="148" y="0"/>
                </a:lnTo>
                <a:lnTo>
                  <a:pt x="162" y="2"/>
                </a:lnTo>
                <a:lnTo>
                  <a:pt x="176" y="6"/>
                </a:lnTo>
                <a:lnTo>
                  <a:pt x="190" y="12"/>
                </a:lnTo>
                <a:lnTo>
                  <a:pt x="200" y="22"/>
                </a:lnTo>
                <a:lnTo>
                  <a:pt x="208" y="32"/>
                </a:lnTo>
                <a:lnTo>
                  <a:pt x="216" y="44"/>
                </a:lnTo>
                <a:lnTo>
                  <a:pt x="220" y="58"/>
                </a:lnTo>
                <a:lnTo>
                  <a:pt x="222" y="74"/>
                </a:lnTo>
                <a:lnTo>
                  <a:pt x="222" y="74"/>
                </a:lnTo>
                <a:lnTo>
                  <a:pt x="220" y="90"/>
                </a:lnTo>
                <a:lnTo>
                  <a:pt x="220" y="90"/>
                </a:lnTo>
                <a:lnTo>
                  <a:pt x="204" y="80"/>
                </a:lnTo>
                <a:lnTo>
                  <a:pt x="186" y="74"/>
                </a:lnTo>
                <a:lnTo>
                  <a:pt x="168" y="68"/>
                </a:lnTo>
                <a:lnTo>
                  <a:pt x="148" y="68"/>
                </a:lnTo>
                <a:lnTo>
                  <a:pt x="148" y="68"/>
                </a:lnTo>
                <a:lnTo>
                  <a:pt x="128" y="68"/>
                </a:lnTo>
                <a:lnTo>
                  <a:pt x="110" y="74"/>
                </a:lnTo>
                <a:lnTo>
                  <a:pt x="92" y="80"/>
                </a:lnTo>
                <a:lnTo>
                  <a:pt x="76" y="90"/>
                </a:lnTo>
                <a:lnTo>
                  <a:pt x="76" y="90"/>
                </a:lnTo>
                <a:lnTo>
                  <a:pt x="74" y="74"/>
                </a:lnTo>
                <a:lnTo>
                  <a:pt x="74" y="74"/>
                </a:lnTo>
                <a:lnTo>
                  <a:pt x="76" y="58"/>
                </a:lnTo>
                <a:lnTo>
                  <a:pt x="80" y="44"/>
                </a:lnTo>
                <a:lnTo>
                  <a:pt x="86" y="32"/>
                </a:lnTo>
                <a:lnTo>
                  <a:pt x="96" y="22"/>
                </a:lnTo>
                <a:lnTo>
                  <a:pt x="106" y="12"/>
                </a:lnTo>
                <a:lnTo>
                  <a:pt x="118" y="6"/>
                </a:lnTo>
                <a:lnTo>
                  <a:pt x="132" y="2"/>
                </a:lnTo>
                <a:lnTo>
                  <a:pt x="148" y="0"/>
                </a:lnTo>
                <a:lnTo>
                  <a:pt x="148" y="0"/>
                </a:lnTo>
                <a:close/>
                <a:moveTo>
                  <a:pt x="156" y="28"/>
                </a:moveTo>
                <a:lnTo>
                  <a:pt x="156" y="18"/>
                </a:lnTo>
                <a:lnTo>
                  <a:pt x="156" y="18"/>
                </a:lnTo>
                <a:lnTo>
                  <a:pt x="154" y="16"/>
                </a:lnTo>
                <a:lnTo>
                  <a:pt x="152" y="12"/>
                </a:lnTo>
                <a:lnTo>
                  <a:pt x="150" y="10"/>
                </a:lnTo>
                <a:lnTo>
                  <a:pt x="148" y="10"/>
                </a:lnTo>
                <a:lnTo>
                  <a:pt x="148" y="10"/>
                </a:lnTo>
                <a:lnTo>
                  <a:pt x="144" y="10"/>
                </a:lnTo>
                <a:lnTo>
                  <a:pt x="142" y="12"/>
                </a:lnTo>
                <a:lnTo>
                  <a:pt x="140" y="16"/>
                </a:lnTo>
                <a:lnTo>
                  <a:pt x="140" y="18"/>
                </a:lnTo>
                <a:lnTo>
                  <a:pt x="140" y="28"/>
                </a:lnTo>
                <a:lnTo>
                  <a:pt x="130" y="28"/>
                </a:lnTo>
                <a:lnTo>
                  <a:pt x="130" y="28"/>
                </a:lnTo>
                <a:lnTo>
                  <a:pt x="126" y="28"/>
                </a:lnTo>
                <a:lnTo>
                  <a:pt x="124" y="30"/>
                </a:lnTo>
                <a:lnTo>
                  <a:pt x="122" y="34"/>
                </a:lnTo>
                <a:lnTo>
                  <a:pt x="122" y="36"/>
                </a:lnTo>
                <a:lnTo>
                  <a:pt x="122" y="36"/>
                </a:lnTo>
                <a:lnTo>
                  <a:pt x="122" y="40"/>
                </a:lnTo>
                <a:lnTo>
                  <a:pt x="124" y="42"/>
                </a:lnTo>
                <a:lnTo>
                  <a:pt x="126" y="44"/>
                </a:lnTo>
                <a:lnTo>
                  <a:pt x="130" y="44"/>
                </a:lnTo>
                <a:lnTo>
                  <a:pt x="140" y="44"/>
                </a:lnTo>
                <a:lnTo>
                  <a:pt x="140" y="54"/>
                </a:lnTo>
                <a:lnTo>
                  <a:pt x="140" y="54"/>
                </a:lnTo>
                <a:lnTo>
                  <a:pt x="140" y="58"/>
                </a:lnTo>
                <a:lnTo>
                  <a:pt x="142" y="60"/>
                </a:lnTo>
                <a:lnTo>
                  <a:pt x="144" y="62"/>
                </a:lnTo>
                <a:lnTo>
                  <a:pt x="148" y="62"/>
                </a:lnTo>
                <a:lnTo>
                  <a:pt x="148" y="62"/>
                </a:lnTo>
                <a:lnTo>
                  <a:pt x="150" y="62"/>
                </a:lnTo>
                <a:lnTo>
                  <a:pt x="152" y="60"/>
                </a:lnTo>
                <a:lnTo>
                  <a:pt x="154" y="58"/>
                </a:lnTo>
                <a:lnTo>
                  <a:pt x="156" y="54"/>
                </a:lnTo>
                <a:lnTo>
                  <a:pt x="156" y="44"/>
                </a:lnTo>
                <a:lnTo>
                  <a:pt x="166" y="44"/>
                </a:lnTo>
                <a:lnTo>
                  <a:pt x="166" y="44"/>
                </a:lnTo>
                <a:lnTo>
                  <a:pt x="168" y="44"/>
                </a:lnTo>
                <a:lnTo>
                  <a:pt x="170" y="42"/>
                </a:lnTo>
                <a:lnTo>
                  <a:pt x="172" y="40"/>
                </a:lnTo>
                <a:lnTo>
                  <a:pt x="174" y="36"/>
                </a:lnTo>
                <a:lnTo>
                  <a:pt x="174" y="36"/>
                </a:lnTo>
                <a:lnTo>
                  <a:pt x="172" y="34"/>
                </a:lnTo>
                <a:lnTo>
                  <a:pt x="170" y="30"/>
                </a:lnTo>
                <a:lnTo>
                  <a:pt x="168" y="28"/>
                </a:lnTo>
                <a:lnTo>
                  <a:pt x="166" y="28"/>
                </a:lnTo>
                <a:lnTo>
                  <a:pt x="156" y="28"/>
                </a:lnTo>
                <a:close/>
              </a:path>
            </a:pathLst>
          </a:custGeom>
          <a:solidFill>
            <a:srgbClr val="48BED8"/>
          </a:solidFill>
          <a:ln>
            <a:noFill/>
          </a:ln>
        </p:spPr>
        <p:txBody>
          <a:bodyPr vert="horz" wrap="square" lIns="78186" tIns="39093" rIns="78186" bIns="39093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sz="1600">
              <a:solidFill>
                <a:prstClr val="black"/>
              </a:solidFill>
              <a:latin typeface="Calibri" panose="020F0502020204030204"/>
            </a:endParaRPr>
          </a:p>
        </p:txBody>
      </p:sp>
      <p:grpSp>
        <p:nvGrpSpPr>
          <p:cNvPr id="40" name="Group 876">
            <a:extLst>
              <a:ext uri="{FF2B5EF4-FFF2-40B4-BE49-F238E27FC236}">
                <a16:creationId xmlns:a16="http://schemas.microsoft.com/office/drawing/2014/main" id="{97752B77-7363-4DAA-B8D1-E90FE8CD7605}"/>
              </a:ext>
            </a:extLst>
          </p:cNvPr>
          <p:cNvGrpSpPr>
            <a:grpSpLocks/>
          </p:cNvGrpSpPr>
          <p:nvPr/>
        </p:nvGrpSpPr>
        <p:grpSpPr>
          <a:xfrm>
            <a:off x="443375" y="4743458"/>
            <a:ext cx="862754" cy="883356"/>
            <a:chOff x="-1612900" y="2984500"/>
            <a:chExt cx="647699" cy="665163"/>
          </a:xfrm>
          <a:solidFill>
            <a:srgbClr val="9FC63B"/>
          </a:solidFill>
        </p:grpSpPr>
        <p:sp>
          <p:nvSpPr>
            <p:cNvPr id="41" name="Freeform 155">
              <a:extLst>
                <a:ext uri="{FF2B5EF4-FFF2-40B4-BE49-F238E27FC236}">
                  <a16:creationId xmlns:a16="http://schemas.microsoft.com/office/drawing/2014/main" id="{48B9D934-1518-4C5C-AD12-576F4A7912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552575" y="3049588"/>
              <a:ext cx="527050" cy="528638"/>
            </a:xfrm>
            <a:custGeom>
              <a:avLst/>
              <a:gdLst>
                <a:gd name="T0" fmla="*/ 262 w 1522"/>
                <a:gd name="T1" fmla="*/ 177 h 1529"/>
                <a:gd name="T2" fmla="*/ 99 w 1522"/>
                <a:gd name="T3" fmla="*/ 237 h 1529"/>
                <a:gd name="T4" fmla="*/ 145 w 1522"/>
                <a:gd name="T5" fmla="*/ 449 h 1529"/>
                <a:gd name="T6" fmla="*/ 308 w 1522"/>
                <a:gd name="T7" fmla="*/ 462 h 1529"/>
                <a:gd name="T8" fmla="*/ 465 w 1522"/>
                <a:gd name="T9" fmla="*/ 677 h 1529"/>
                <a:gd name="T10" fmla="*/ 505 w 1522"/>
                <a:gd name="T11" fmla="*/ 908 h 1529"/>
                <a:gd name="T12" fmla="*/ 692 w 1522"/>
                <a:gd name="T13" fmla="*/ 868 h 1529"/>
                <a:gd name="T14" fmla="*/ 831 w 1522"/>
                <a:gd name="T15" fmla="*/ 756 h 1529"/>
                <a:gd name="T16" fmla="*/ 833 w 1522"/>
                <a:gd name="T17" fmla="*/ 874 h 1529"/>
                <a:gd name="T18" fmla="*/ 1028 w 1522"/>
                <a:gd name="T19" fmla="*/ 908 h 1529"/>
                <a:gd name="T20" fmla="*/ 1059 w 1522"/>
                <a:gd name="T21" fmla="*/ 677 h 1529"/>
                <a:gd name="T22" fmla="*/ 1216 w 1522"/>
                <a:gd name="T23" fmla="*/ 464 h 1529"/>
                <a:gd name="T24" fmla="*/ 1383 w 1522"/>
                <a:gd name="T25" fmla="*/ 449 h 1529"/>
                <a:gd name="T26" fmla="*/ 1425 w 1522"/>
                <a:gd name="T27" fmla="*/ 217 h 1529"/>
                <a:gd name="T28" fmla="*/ 1261 w 1522"/>
                <a:gd name="T29" fmla="*/ 177 h 1529"/>
                <a:gd name="T30" fmla="*/ 1197 w 1522"/>
                <a:gd name="T31" fmla="*/ 3 h 1529"/>
                <a:gd name="T32" fmla="*/ 1462 w 1522"/>
                <a:gd name="T33" fmla="*/ 2 h 1529"/>
                <a:gd name="T34" fmla="*/ 1522 w 1522"/>
                <a:gd name="T35" fmla="*/ 1503 h 1529"/>
                <a:gd name="T36" fmla="*/ 3 w 1522"/>
                <a:gd name="T37" fmla="*/ 1529 h 1529"/>
                <a:gd name="T38" fmla="*/ 1 w 1522"/>
                <a:gd name="T39" fmla="*/ 357 h 1529"/>
                <a:gd name="T40" fmla="*/ 72 w 1522"/>
                <a:gd name="T41" fmla="*/ 1 h 1529"/>
                <a:gd name="T42" fmla="*/ 99 w 1522"/>
                <a:gd name="T43" fmla="*/ 773 h 1529"/>
                <a:gd name="T44" fmla="*/ 99 w 1522"/>
                <a:gd name="T45" fmla="*/ 869 h 1529"/>
                <a:gd name="T46" fmla="*/ 290 w 1522"/>
                <a:gd name="T47" fmla="*/ 908 h 1529"/>
                <a:gd name="T48" fmla="*/ 326 w 1522"/>
                <a:gd name="T49" fmla="*/ 674 h 1529"/>
                <a:gd name="T50" fmla="*/ 138 w 1522"/>
                <a:gd name="T51" fmla="*/ 637 h 1529"/>
                <a:gd name="T52" fmla="*/ 99 w 1522"/>
                <a:gd name="T53" fmla="*/ 773 h 1529"/>
                <a:gd name="T54" fmla="*/ 1198 w 1522"/>
                <a:gd name="T55" fmla="*/ 866 h 1529"/>
                <a:gd name="T56" fmla="*/ 1386 w 1522"/>
                <a:gd name="T57" fmla="*/ 908 h 1529"/>
                <a:gd name="T58" fmla="*/ 1425 w 1522"/>
                <a:gd name="T59" fmla="*/ 675 h 1529"/>
                <a:gd name="T60" fmla="*/ 1236 w 1522"/>
                <a:gd name="T61" fmla="*/ 637 h 1529"/>
                <a:gd name="T62" fmla="*/ 1198 w 1522"/>
                <a:gd name="T63" fmla="*/ 772 h 1529"/>
                <a:gd name="T64" fmla="*/ 1425 w 1522"/>
                <a:gd name="T65" fmla="*/ 1122 h 1529"/>
                <a:gd name="T66" fmla="*/ 1235 w 1522"/>
                <a:gd name="T67" fmla="*/ 1085 h 1529"/>
                <a:gd name="T68" fmla="*/ 1198 w 1522"/>
                <a:gd name="T69" fmla="*/ 1319 h 1529"/>
                <a:gd name="T70" fmla="*/ 1385 w 1522"/>
                <a:gd name="T71" fmla="*/ 1356 h 1529"/>
                <a:gd name="T72" fmla="*/ 1426 w 1522"/>
                <a:gd name="T73" fmla="*/ 1220 h 1529"/>
                <a:gd name="T74" fmla="*/ 327 w 1522"/>
                <a:gd name="T75" fmla="*/ 1219 h 1529"/>
                <a:gd name="T76" fmla="*/ 290 w 1522"/>
                <a:gd name="T77" fmla="*/ 1085 h 1529"/>
                <a:gd name="T78" fmla="*/ 99 w 1522"/>
                <a:gd name="T79" fmla="*/ 1123 h 1529"/>
                <a:gd name="T80" fmla="*/ 137 w 1522"/>
                <a:gd name="T81" fmla="*/ 1355 h 1529"/>
                <a:gd name="T82" fmla="*/ 326 w 1522"/>
                <a:gd name="T83" fmla="*/ 1317 h 1529"/>
                <a:gd name="T84" fmla="*/ 466 w 1522"/>
                <a:gd name="T85" fmla="*/ 1221 h 1529"/>
                <a:gd name="T86" fmla="*/ 500 w 1522"/>
                <a:gd name="T87" fmla="*/ 1355 h 1529"/>
                <a:gd name="T88" fmla="*/ 692 w 1522"/>
                <a:gd name="T89" fmla="*/ 1322 h 1529"/>
                <a:gd name="T90" fmla="*/ 657 w 1522"/>
                <a:gd name="T91" fmla="*/ 1085 h 1529"/>
                <a:gd name="T92" fmla="*/ 466 w 1522"/>
                <a:gd name="T93" fmla="*/ 1123 h 1529"/>
                <a:gd name="T94" fmla="*/ 833 w 1522"/>
                <a:gd name="T95" fmla="*/ 1220 h 1529"/>
                <a:gd name="T96" fmla="*/ 874 w 1522"/>
                <a:gd name="T97" fmla="*/ 1356 h 1529"/>
                <a:gd name="T98" fmla="*/ 1059 w 1522"/>
                <a:gd name="T99" fmla="*/ 1319 h 1529"/>
                <a:gd name="T100" fmla="*/ 1022 w 1522"/>
                <a:gd name="T101" fmla="*/ 1085 h 1529"/>
                <a:gd name="T102" fmla="*/ 833 w 1522"/>
                <a:gd name="T103" fmla="*/ 1120 h 1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522" h="1529">
                  <a:moveTo>
                    <a:pt x="328" y="2"/>
                  </a:moveTo>
                  <a:cubicBezTo>
                    <a:pt x="306" y="60"/>
                    <a:pt x="285" y="116"/>
                    <a:pt x="262" y="177"/>
                  </a:cubicBezTo>
                  <a:cubicBezTo>
                    <a:pt x="232" y="177"/>
                    <a:pt x="196" y="177"/>
                    <a:pt x="160" y="177"/>
                  </a:cubicBezTo>
                  <a:cubicBezTo>
                    <a:pt x="103" y="177"/>
                    <a:pt x="99" y="181"/>
                    <a:pt x="99" y="237"/>
                  </a:cubicBezTo>
                  <a:cubicBezTo>
                    <a:pt x="99" y="292"/>
                    <a:pt x="99" y="347"/>
                    <a:pt x="99" y="403"/>
                  </a:cubicBezTo>
                  <a:cubicBezTo>
                    <a:pt x="99" y="439"/>
                    <a:pt x="109" y="449"/>
                    <a:pt x="145" y="449"/>
                  </a:cubicBezTo>
                  <a:cubicBezTo>
                    <a:pt x="193" y="449"/>
                    <a:pt x="240" y="450"/>
                    <a:pt x="287" y="449"/>
                  </a:cubicBezTo>
                  <a:cubicBezTo>
                    <a:pt x="298" y="449"/>
                    <a:pt x="304" y="452"/>
                    <a:pt x="308" y="462"/>
                  </a:cubicBezTo>
                  <a:cubicBezTo>
                    <a:pt x="342" y="537"/>
                    <a:pt x="391" y="600"/>
                    <a:pt x="454" y="652"/>
                  </a:cubicBezTo>
                  <a:cubicBezTo>
                    <a:pt x="461" y="658"/>
                    <a:pt x="465" y="669"/>
                    <a:pt x="465" y="677"/>
                  </a:cubicBezTo>
                  <a:cubicBezTo>
                    <a:pt x="466" y="741"/>
                    <a:pt x="466" y="804"/>
                    <a:pt x="466" y="867"/>
                  </a:cubicBezTo>
                  <a:cubicBezTo>
                    <a:pt x="466" y="897"/>
                    <a:pt x="476" y="908"/>
                    <a:pt x="505" y="908"/>
                  </a:cubicBezTo>
                  <a:cubicBezTo>
                    <a:pt x="554" y="909"/>
                    <a:pt x="604" y="909"/>
                    <a:pt x="653" y="908"/>
                  </a:cubicBezTo>
                  <a:cubicBezTo>
                    <a:pt x="683" y="908"/>
                    <a:pt x="692" y="898"/>
                    <a:pt x="692" y="868"/>
                  </a:cubicBezTo>
                  <a:cubicBezTo>
                    <a:pt x="692" y="830"/>
                    <a:pt x="692" y="793"/>
                    <a:pt x="692" y="756"/>
                  </a:cubicBezTo>
                  <a:cubicBezTo>
                    <a:pt x="739" y="756"/>
                    <a:pt x="784" y="756"/>
                    <a:pt x="831" y="756"/>
                  </a:cubicBezTo>
                  <a:cubicBezTo>
                    <a:pt x="832" y="762"/>
                    <a:pt x="832" y="769"/>
                    <a:pt x="832" y="776"/>
                  </a:cubicBezTo>
                  <a:cubicBezTo>
                    <a:pt x="833" y="808"/>
                    <a:pt x="832" y="841"/>
                    <a:pt x="833" y="874"/>
                  </a:cubicBezTo>
                  <a:cubicBezTo>
                    <a:pt x="833" y="895"/>
                    <a:pt x="843" y="907"/>
                    <a:pt x="864" y="908"/>
                  </a:cubicBezTo>
                  <a:cubicBezTo>
                    <a:pt x="918" y="909"/>
                    <a:pt x="973" y="909"/>
                    <a:pt x="1028" y="908"/>
                  </a:cubicBezTo>
                  <a:cubicBezTo>
                    <a:pt x="1049" y="907"/>
                    <a:pt x="1059" y="894"/>
                    <a:pt x="1059" y="871"/>
                  </a:cubicBezTo>
                  <a:cubicBezTo>
                    <a:pt x="1059" y="807"/>
                    <a:pt x="1058" y="742"/>
                    <a:pt x="1059" y="677"/>
                  </a:cubicBezTo>
                  <a:cubicBezTo>
                    <a:pt x="1060" y="668"/>
                    <a:pt x="1065" y="657"/>
                    <a:pt x="1072" y="651"/>
                  </a:cubicBezTo>
                  <a:cubicBezTo>
                    <a:pt x="1134" y="600"/>
                    <a:pt x="1183" y="538"/>
                    <a:pt x="1216" y="464"/>
                  </a:cubicBezTo>
                  <a:cubicBezTo>
                    <a:pt x="1221" y="452"/>
                    <a:pt x="1229" y="449"/>
                    <a:pt x="1241" y="449"/>
                  </a:cubicBezTo>
                  <a:cubicBezTo>
                    <a:pt x="1289" y="450"/>
                    <a:pt x="1336" y="449"/>
                    <a:pt x="1383" y="449"/>
                  </a:cubicBezTo>
                  <a:cubicBezTo>
                    <a:pt x="1414" y="449"/>
                    <a:pt x="1426" y="438"/>
                    <a:pt x="1426" y="407"/>
                  </a:cubicBezTo>
                  <a:cubicBezTo>
                    <a:pt x="1426" y="343"/>
                    <a:pt x="1426" y="280"/>
                    <a:pt x="1425" y="217"/>
                  </a:cubicBezTo>
                  <a:cubicBezTo>
                    <a:pt x="1425" y="188"/>
                    <a:pt x="1414" y="177"/>
                    <a:pt x="1385" y="177"/>
                  </a:cubicBezTo>
                  <a:cubicBezTo>
                    <a:pt x="1344" y="177"/>
                    <a:pt x="1303" y="177"/>
                    <a:pt x="1261" y="177"/>
                  </a:cubicBezTo>
                  <a:cubicBezTo>
                    <a:pt x="1260" y="177"/>
                    <a:pt x="1259" y="176"/>
                    <a:pt x="1261" y="177"/>
                  </a:cubicBezTo>
                  <a:cubicBezTo>
                    <a:pt x="1239" y="117"/>
                    <a:pt x="1218" y="60"/>
                    <a:pt x="1197" y="3"/>
                  </a:cubicBezTo>
                  <a:cubicBezTo>
                    <a:pt x="1199" y="3"/>
                    <a:pt x="1204" y="2"/>
                    <a:pt x="1210" y="2"/>
                  </a:cubicBezTo>
                  <a:cubicBezTo>
                    <a:pt x="1294" y="2"/>
                    <a:pt x="1378" y="2"/>
                    <a:pt x="1462" y="2"/>
                  </a:cubicBezTo>
                  <a:cubicBezTo>
                    <a:pt x="1500" y="2"/>
                    <a:pt x="1522" y="24"/>
                    <a:pt x="1522" y="61"/>
                  </a:cubicBezTo>
                  <a:cubicBezTo>
                    <a:pt x="1522" y="542"/>
                    <a:pt x="1522" y="1022"/>
                    <a:pt x="1522" y="1503"/>
                  </a:cubicBezTo>
                  <a:cubicBezTo>
                    <a:pt x="1522" y="1511"/>
                    <a:pt x="1522" y="1519"/>
                    <a:pt x="1522" y="1529"/>
                  </a:cubicBezTo>
                  <a:cubicBezTo>
                    <a:pt x="1015" y="1529"/>
                    <a:pt x="510" y="1529"/>
                    <a:pt x="3" y="1529"/>
                  </a:cubicBezTo>
                  <a:cubicBezTo>
                    <a:pt x="2" y="1523"/>
                    <a:pt x="1" y="1516"/>
                    <a:pt x="1" y="1509"/>
                  </a:cubicBezTo>
                  <a:cubicBezTo>
                    <a:pt x="1" y="1125"/>
                    <a:pt x="1" y="741"/>
                    <a:pt x="1" y="357"/>
                  </a:cubicBezTo>
                  <a:cubicBezTo>
                    <a:pt x="1" y="263"/>
                    <a:pt x="3" y="168"/>
                    <a:pt x="1" y="73"/>
                  </a:cubicBezTo>
                  <a:cubicBezTo>
                    <a:pt x="0" y="24"/>
                    <a:pt x="31" y="0"/>
                    <a:pt x="72" y="1"/>
                  </a:cubicBezTo>
                  <a:cubicBezTo>
                    <a:pt x="158" y="4"/>
                    <a:pt x="244" y="2"/>
                    <a:pt x="328" y="2"/>
                  </a:cubicBezTo>
                  <a:close/>
                  <a:moveTo>
                    <a:pt x="99" y="773"/>
                  </a:moveTo>
                  <a:cubicBezTo>
                    <a:pt x="99" y="773"/>
                    <a:pt x="99" y="773"/>
                    <a:pt x="99" y="773"/>
                  </a:cubicBezTo>
                  <a:cubicBezTo>
                    <a:pt x="99" y="805"/>
                    <a:pt x="99" y="837"/>
                    <a:pt x="99" y="869"/>
                  </a:cubicBezTo>
                  <a:cubicBezTo>
                    <a:pt x="100" y="896"/>
                    <a:pt x="110" y="908"/>
                    <a:pt x="136" y="908"/>
                  </a:cubicBezTo>
                  <a:cubicBezTo>
                    <a:pt x="188" y="909"/>
                    <a:pt x="239" y="909"/>
                    <a:pt x="290" y="908"/>
                  </a:cubicBezTo>
                  <a:cubicBezTo>
                    <a:pt x="315" y="908"/>
                    <a:pt x="326" y="895"/>
                    <a:pt x="326" y="870"/>
                  </a:cubicBezTo>
                  <a:cubicBezTo>
                    <a:pt x="327" y="805"/>
                    <a:pt x="327" y="739"/>
                    <a:pt x="326" y="674"/>
                  </a:cubicBezTo>
                  <a:cubicBezTo>
                    <a:pt x="326" y="648"/>
                    <a:pt x="315" y="637"/>
                    <a:pt x="288" y="637"/>
                  </a:cubicBezTo>
                  <a:cubicBezTo>
                    <a:pt x="238" y="637"/>
                    <a:pt x="188" y="637"/>
                    <a:pt x="138" y="637"/>
                  </a:cubicBezTo>
                  <a:cubicBezTo>
                    <a:pt x="110" y="637"/>
                    <a:pt x="100" y="647"/>
                    <a:pt x="99" y="675"/>
                  </a:cubicBezTo>
                  <a:cubicBezTo>
                    <a:pt x="99" y="708"/>
                    <a:pt x="99" y="741"/>
                    <a:pt x="99" y="773"/>
                  </a:cubicBezTo>
                  <a:close/>
                  <a:moveTo>
                    <a:pt x="1198" y="772"/>
                  </a:moveTo>
                  <a:cubicBezTo>
                    <a:pt x="1198" y="803"/>
                    <a:pt x="1198" y="835"/>
                    <a:pt x="1198" y="866"/>
                  </a:cubicBezTo>
                  <a:cubicBezTo>
                    <a:pt x="1198" y="897"/>
                    <a:pt x="1208" y="908"/>
                    <a:pt x="1240" y="908"/>
                  </a:cubicBezTo>
                  <a:cubicBezTo>
                    <a:pt x="1289" y="909"/>
                    <a:pt x="1337" y="908"/>
                    <a:pt x="1386" y="908"/>
                  </a:cubicBezTo>
                  <a:cubicBezTo>
                    <a:pt x="1414" y="908"/>
                    <a:pt x="1425" y="897"/>
                    <a:pt x="1425" y="869"/>
                  </a:cubicBezTo>
                  <a:cubicBezTo>
                    <a:pt x="1426" y="805"/>
                    <a:pt x="1426" y="740"/>
                    <a:pt x="1425" y="675"/>
                  </a:cubicBezTo>
                  <a:cubicBezTo>
                    <a:pt x="1425" y="648"/>
                    <a:pt x="1414" y="637"/>
                    <a:pt x="1386" y="637"/>
                  </a:cubicBezTo>
                  <a:cubicBezTo>
                    <a:pt x="1336" y="637"/>
                    <a:pt x="1286" y="637"/>
                    <a:pt x="1236" y="637"/>
                  </a:cubicBezTo>
                  <a:cubicBezTo>
                    <a:pt x="1209" y="637"/>
                    <a:pt x="1198" y="648"/>
                    <a:pt x="1198" y="676"/>
                  </a:cubicBezTo>
                  <a:cubicBezTo>
                    <a:pt x="1198" y="708"/>
                    <a:pt x="1198" y="740"/>
                    <a:pt x="1198" y="772"/>
                  </a:cubicBezTo>
                  <a:close/>
                  <a:moveTo>
                    <a:pt x="1426" y="1220"/>
                  </a:moveTo>
                  <a:cubicBezTo>
                    <a:pt x="1426" y="1187"/>
                    <a:pt x="1426" y="1155"/>
                    <a:pt x="1425" y="1122"/>
                  </a:cubicBezTo>
                  <a:cubicBezTo>
                    <a:pt x="1425" y="1095"/>
                    <a:pt x="1414" y="1085"/>
                    <a:pt x="1387" y="1085"/>
                  </a:cubicBezTo>
                  <a:cubicBezTo>
                    <a:pt x="1337" y="1085"/>
                    <a:pt x="1286" y="1084"/>
                    <a:pt x="1235" y="1085"/>
                  </a:cubicBezTo>
                  <a:cubicBezTo>
                    <a:pt x="1210" y="1085"/>
                    <a:pt x="1198" y="1096"/>
                    <a:pt x="1198" y="1121"/>
                  </a:cubicBezTo>
                  <a:cubicBezTo>
                    <a:pt x="1198" y="1187"/>
                    <a:pt x="1198" y="1253"/>
                    <a:pt x="1198" y="1319"/>
                  </a:cubicBezTo>
                  <a:cubicBezTo>
                    <a:pt x="1198" y="1344"/>
                    <a:pt x="1210" y="1355"/>
                    <a:pt x="1235" y="1355"/>
                  </a:cubicBezTo>
                  <a:cubicBezTo>
                    <a:pt x="1285" y="1356"/>
                    <a:pt x="1335" y="1356"/>
                    <a:pt x="1385" y="1356"/>
                  </a:cubicBezTo>
                  <a:cubicBezTo>
                    <a:pt x="1415" y="1355"/>
                    <a:pt x="1425" y="1345"/>
                    <a:pt x="1426" y="1314"/>
                  </a:cubicBezTo>
                  <a:cubicBezTo>
                    <a:pt x="1426" y="1283"/>
                    <a:pt x="1426" y="1251"/>
                    <a:pt x="1426" y="1220"/>
                  </a:cubicBezTo>
                  <a:close/>
                  <a:moveTo>
                    <a:pt x="326" y="1219"/>
                  </a:moveTo>
                  <a:cubicBezTo>
                    <a:pt x="327" y="1219"/>
                    <a:pt x="327" y="1219"/>
                    <a:pt x="327" y="1219"/>
                  </a:cubicBezTo>
                  <a:cubicBezTo>
                    <a:pt x="327" y="1187"/>
                    <a:pt x="327" y="1154"/>
                    <a:pt x="326" y="1121"/>
                  </a:cubicBezTo>
                  <a:cubicBezTo>
                    <a:pt x="326" y="1096"/>
                    <a:pt x="315" y="1085"/>
                    <a:pt x="290" y="1085"/>
                  </a:cubicBezTo>
                  <a:cubicBezTo>
                    <a:pt x="239" y="1084"/>
                    <a:pt x="188" y="1085"/>
                    <a:pt x="138" y="1085"/>
                  </a:cubicBezTo>
                  <a:cubicBezTo>
                    <a:pt x="110" y="1085"/>
                    <a:pt x="99" y="1095"/>
                    <a:pt x="99" y="1123"/>
                  </a:cubicBezTo>
                  <a:cubicBezTo>
                    <a:pt x="99" y="1188"/>
                    <a:pt x="99" y="1253"/>
                    <a:pt x="99" y="1317"/>
                  </a:cubicBezTo>
                  <a:cubicBezTo>
                    <a:pt x="99" y="1344"/>
                    <a:pt x="110" y="1355"/>
                    <a:pt x="137" y="1355"/>
                  </a:cubicBezTo>
                  <a:cubicBezTo>
                    <a:pt x="188" y="1356"/>
                    <a:pt x="238" y="1356"/>
                    <a:pt x="289" y="1355"/>
                  </a:cubicBezTo>
                  <a:cubicBezTo>
                    <a:pt x="316" y="1355"/>
                    <a:pt x="326" y="1344"/>
                    <a:pt x="326" y="1317"/>
                  </a:cubicBezTo>
                  <a:cubicBezTo>
                    <a:pt x="327" y="1285"/>
                    <a:pt x="326" y="1252"/>
                    <a:pt x="326" y="1219"/>
                  </a:cubicBezTo>
                  <a:close/>
                  <a:moveTo>
                    <a:pt x="466" y="1221"/>
                  </a:moveTo>
                  <a:cubicBezTo>
                    <a:pt x="466" y="1253"/>
                    <a:pt x="466" y="1286"/>
                    <a:pt x="466" y="1319"/>
                  </a:cubicBezTo>
                  <a:cubicBezTo>
                    <a:pt x="466" y="1343"/>
                    <a:pt x="477" y="1355"/>
                    <a:pt x="500" y="1355"/>
                  </a:cubicBezTo>
                  <a:cubicBezTo>
                    <a:pt x="553" y="1356"/>
                    <a:pt x="606" y="1356"/>
                    <a:pt x="658" y="1355"/>
                  </a:cubicBezTo>
                  <a:cubicBezTo>
                    <a:pt x="681" y="1355"/>
                    <a:pt x="692" y="1344"/>
                    <a:pt x="692" y="1322"/>
                  </a:cubicBezTo>
                  <a:cubicBezTo>
                    <a:pt x="692" y="1254"/>
                    <a:pt x="692" y="1186"/>
                    <a:pt x="692" y="1118"/>
                  </a:cubicBezTo>
                  <a:cubicBezTo>
                    <a:pt x="692" y="1095"/>
                    <a:pt x="680" y="1085"/>
                    <a:pt x="657" y="1085"/>
                  </a:cubicBezTo>
                  <a:cubicBezTo>
                    <a:pt x="606" y="1084"/>
                    <a:pt x="554" y="1084"/>
                    <a:pt x="503" y="1085"/>
                  </a:cubicBezTo>
                  <a:cubicBezTo>
                    <a:pt x="477" y="1085"/>
                    <a:pt x="466" y="1096"/>
                    <a:pt x="466" y="1123"/>
                  </a:cubicBezTo>
                  <a:cubicBezTo>
                    <a:pt x="466" y="1155"/>
                    <a:pt x="466" y="1188"/>
                    <a:pt x="466" y="1221"/>
                  </a:cubicBezTo>
                  <a:close/>
                  <a:moveTo>
                    <a:pt x="833" y="1220"/>
                  </a:moveTo>
                  <a:cubicBezTo>
                    <a:pt x="833" y="1251"/>
                    <a:pt x="832" y="1282"/>
                    <a:pt x="833" y="1314"/>
                  </a:cubicBezTo>
                  <a:cubicBezTo>
                    <a:pt x="833" y="1346"/>
                    <a:pt x="842" y="1355"/>
                    <a:pt x="874" y="1356"/>
                  </a:cubicBezTo>
                  <a:cubicBezTo>
                    <a:pt x="923" y="1356"/>
                    <a:pt x="973" y="1356"/>
                    <a:pt x="1022" y="1355"/>
                  </a:cubicBezTo>
                  <a:cubicBezTo>
                    <a:pt x="1047" y="1355"/>
                    <a:pt x="1059" y="1344"/>
                    <a:pt x="1059" y="1319"/>
                  </a:cubicBezTo>
                  <a:cubicBezTo>
                    <a:pt x="1059" y="1253"/>
                    <a:pt x="1059" y="1187"/>
                    <a:pt x="1059" y="1121"/>
                  </a:cubicBezTo>
                  <a:cubicBezTo>
                    <a:pt x="1059" y="1096"/>
                    <a:pt x="1047" y="1085"/>
                    <a:pt x="1022" y="1085"/>
                  </a:cubicBezTo>
                  <a:cubicBezTo>
                    <a:pt x="971" y="1084"/>
                    <a:pt x="919" y="1085"/>
                    <a:pt x="868" y="1085"/>
                  </a:cubicBezTo>
                  <a:cubicBezTo>
                    <a:pt x="844" y="1085"/>
                    <a:pt x="833" y="1095"/>
                    <a:pt x="833" y="1120"/>
                  </a:cubicBezTo>
                  <a:cubicBezTo>
                    <a:pt x="832" y="1153"/>
                    <a:pt x="833" y="1187"/>
                    <a:pt x="833" y="12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defRPr/>
              </a:pPr>
              <a:endParaRPr lang="en-US" sz="16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2" name="Freeform 156">
              <a:extLst>
                <a:ext uri="{FF2B5EF4-FFF2-40B4-BE49-F238E27FC236}">
                  <a16:creationId xmlns:a16="http://schemas.microsoft.com/office/drawing/2014/main" id="{49C03167-D55E-4735-9A09-BB26BCC4AA52}"/>
                </a:ext>
              </a:extLst>
            </p:cNvPr>
            <p:cNvSpPr>
              <a:spLocks/>
            </p:cNvSpPr>
            <p:nvPr/>
          </p:nvSpPr>
          <p:spPr bwMode="auto">
            <a:xfrm>
              <a:off x="-1612900" y="3598863"/>
              <a:ext cx="647699" cy="50800"/>
            </a:xfrm>
            <a:custGeom>
              <a:avLst/>
              <a:gdLst>
                <a:gd name="T0" fmla="*/ 933 w 1867"/>
                <a:gd name="T1" fmla="*/ 0 h 148"/>
                <a:gd name="T2" fmla="*/ 1829 w 1867"/>
                <a:gd name="T3" fmla="*/ 0 h 148"/>
                <a:gd name="T4" fmla="*/ 1866 w 1867"/>
                <a:gd name="T5" fmla="*/ 37 h 148"/>
                <a:gd name="T6" fmla="*/ 1866 w 1867"/>
                <a:gd name="T7" fmla="*/ 107 h 148"/>
                <a:gd name="T8" fmla="*/ 1824 w 1867"/>
                <a:gd name="T9" fmla="*/ 148 h 148"/>
                <a:gd name="T10" fmla="*/ 1044 w 1867"/>
                <a:gd name="T11" fmla="*/ 148 h 148"/>
                <a:gd name="T12" fmla="*/ 45 w 1867"/>
                <a:gd name="T13" fmla="*/ 148 h 148"/>
                <a:gd name="T14" fmla="*/ 0 w 1867"/>
                <a:gd name="T15" fmla="*/ 103 h 148"/>
                <a:gd name="T16" fmla="*/ 0 w 1867"/>
                <a:gd name="T17" fmla="*/ 37 h 148"/>
                <a:gd name="T18" fmla="*/ 37 w 1867"/>
                <a:gd name="T19" fmla="*/ 0 h 148"/>
                <a:gd name="T20" fmla="*/ 565 w 1867"/>
                <a:gd name="T21" fmla="*/ 0 h 148"/>
                <a:gd name="T22" fmla="*/ 933 w 1867"/>
                <a:gd name="T23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7" h="148">
                  <a:moveTo>
                    <a:pt x="933" y="0"/>
                  </a:moveTo>
                  <a:cubicBezTo>
                    <a:pt x="1232" y="0"/>
                    <a:pt x="1530" y="0"/>
                    <a:pt x="1829" y="0"/>
                  </a:cubicBezTo>
                  <a:cubicBezTo>
                    <a:pt x="1857" y="0"/>
                    <a:pt x="1866" y="8"/>
                    <a:pt x="1866" y="37"/>
                  </a:cubicBezTo>
                  <a:cubicBezTo>
                    <a:pt x="1867" y="60"/>
                    <a:pt x="1866" y="84"/>
                    <a:pt x="1866" y="107"/>
                  </a:cubicBezTo>
                  <a:cubicBezTo>
                    <a:pt x="1866" y="139"/>
                    <a:pt x="1858" y="148"/>
                    <a:pt x="1824" y="148"/>
                  </a:cubicBezTo>
                  <a:cubicBezTo>
                    <a:pt x="1564" y="148"/>
                    <a:pt x="1304" y="148"/>
                    <a:pt x="1044" y="148"/>
                  </a:cubicBezTo>
                  <a:cubicBezTo>
                    <a:pt x="711" y="148"/>
                    <a:pt x="378" y="148"/>
                    <a:pt x="45" y="148"/>
                  </a:cubicBezTo>
                  <a:cubicBezTo>
                    <a:pt x="8" y="148"/>
                    <a:pt x="0" y="140"/>
                    <a:pt x="0" y="103"/>
                  </a:cubicBezTo>
                  <a:cubicBezTo>
                    <a:pt x="0" y="81"/>
                    <a:pt x="0" y="59"/>
                    <a:pt x="0" y="37"/>
                  </a:cubicBezTo>
                  <a:cubicBezTo>
                    <a:pt x="1" y="8"/>
                    <a:pt x="9" y="0"/>
                    <a:pt x="37" y="0"/>
                  </a:cubicBezTo>
                  <a:cubicBezTo>
                    <a:pt x="213" y="0"/>
                    <a:pt x="389" y="0"/>
                    <a:pt x="565" y="0"/>
                  </a:cubicBezTo>
                  <a:cubicBezTo>
                    <a:pt x="688" y="0"/>
                    <a:pt x="811" y="0"/>
                    <a:pt x="93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defRPr/>
              </a:pPr>
              <a:endParaRPr lang="en-US" sz="16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reeform 157">
              <a:extLst>
                <a:ext uri="{FF2B5EF4-FFF2-40B4-BE49-F238E27FC236}">
                  <a16:creationId xmlns:a16="http://schemas.microsoft.com/office/drawing/2014/main" id="{65643ADC-E117-491A-9321-C5C66461D3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446213" y="2984500"/>
              <a:ext cx="312737" cy="307975"/>
            </a:xfrm>
            <a:custGeom>
              <a:avLst/>
              <a:gdLst>
                <a:gd name="T0" fmla="*/ 453 w 903"/>
                <a:gd name="T1" fmla="*/ 888 h 890"/>
                <a:gd name="T2" fmla="*/ 11 w 903"/>
                <a:gd name="T3" fmla="*/ 424 h 890"/>
                <a:gd name="T4" fmla="*/ 456 w 903"/>
                <a:gd name="T5" fmla="*/ 1 h 890"/>
                <a:gd name="T6" fmla="*/ 899 w 903"/>
                <a:gd name="T7" fmla="*/ 456 h 890"/>
                <a:gd name="T8" fmla="*/ 453 w 903"/>
                <a:gd name="T9" fmla="*/ 888 h 890"/>
                <a:gd name="T10" fmla="*/ 841 w 903"/>
                <a:gd name="T11" fmla="*/ 445 h 890"/>
                <a:gd name="T12" fmla="*/ 458 w 903"/>
                <a:gd name="T13" fmla="*/ 59 h 890"/>
                <a:gd name="T14" fmla="*/ 68 w 903"/>
                <a:gd name="T15" fmla="*/ 445 h 890"/>
                <a:gd name="T16" fmla="*/ 452 w 903"/>
                <a:gd name="T17" fmla="*/ 831 h 890"/>
                <a:gd name="T18" fmla="*/ 841 w 903"/>
                <a:gd name="T19" fmla="*/ 445 h 8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3" h="890">
                  <a:moveTo>
                    <a:pt x="453" y="888"/>
                  </a:moveTo>
                  <a:cubicBezTo>
                    <a:pt x="212" y="890"/>
                    <a:pt x="0" y="685"/>
                    <a:pt x="11" y="424"/>
                  </a:cubicBezTo>
                  <a:cubicBezTo>
                    <a:pt x="20" y="200"/>
                    <a:pt x="204" y="0"/>
                    <a:pt x="456" y="1"/>
                  </a:cubicBezTo>
                  <a:cubicBezTo>
                    <a:pt x="714" y="2"/>
                    <a:pt x="903" y="215"/>
                    <a:pt x="899" y="456"/>
                  </a:cubicBezTo>
                  <a:cubicBezTo>
                    <a:pt x="894" y="692"/>
                    <a:pt x="694" y="889"/>
                    <a:pt x="453" y="888"/>
                  </a:cubicBezTo>
                  <a:close/>
                  <a:moveTo>
                    <a:pt x="841" y="445"/>
                  </a:moveTo>
                  <a:cubicBezTo>
                    <a:pt x="841" y="232"/>
                    <a:pt x="670" y="59"/>
                    <a:pt x="458" y="59"/>
                  </a:cubicBezTo>
                  <a:cubicBezTo>
                    <a:pt x="241" y="58"/>
                    <a:pt x="67" y="230"/>
                    <a:pt x="68" y="445"/>
                  </a:cubicBezTo>
                  <a:cubicBezTo>
                    <a:pt x="69" y="658"/>
                    <a:pt x="241" y="831"/>
                    <a:pt x="452" y="831"/>
                  </a:cubicBezTo>
                  <a:cubicBezTo>
                    <a:pt x="667" y="832"/>
                    <a:pt x="840" y="659"/>
                    <a:pt x="841" y="4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defRPr/>
              </a:pPr>
              <a:endParaRPr lang="en-US" sz="160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reeform 158">
              <a:extLst>
                <a:ext uri="{FF2B5EF4-FFF2-40B4-BE49-F238E27FC236}">
                  <a16:creationId xmlns:a16="http://schemas.microsoft.com/office/drawing/2014/main" id="{2992C960-8786-4298-9F46-A4B6613A3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92238" y="3033713"/>
              <a:ext cx="206375" cy="207963"/>
            </a:xfrm>
            <a:custGeom>
              <a:avLst/>
              <a:gdLst>
                <a:gd name="T0" fmla="*/ 395 w 599"/>
                <a:gd name="T1" fmla="*/ 395 h 600"/>
                <a:gd name="T2" fmla="*/ 395 w 599"/>
                <a:gd name="T3" fmla="*/ 559 h 600"/>
                <a:gd name="T4" fmla="*/ 355 w 599"/>
                <a:gd name="T5" fmla="*/ 600 h 600"/>
                <a:gd name="T6" fmla="*/ 243 w 599"/>
                <a:gd name="T7" fmla="*/ 600 h 600"/>
                <a:gd name="T8" fmla="*/ 204 w 599"/>
                <a:gd name="T9" fmla="*/ 560 h 600"/>
                <a:gd name="T10" fmla="*/ 204 w 599"/>
                <a:gd name="T11" fmla="*/ 420 h 600"/>
                <a:gd name="T12" fmla="*/ 204 w 599"/>
                <a:gd name="T13" fmla="*/ 395 h 600"/>
                <a:gd name="T14" fmla="*/ 177 w 599"/>
                <a:gd name="T15" fmla="*/ 395 h 600"/>
                <a:gd name="T16" fmla="*/ 39 w 599"/>
                <a:gd name="T17" fmla="*/ 395 h 600"/>
                <a:gd name="T18" fmla="*/ 0 w 599"/>
                <a:gd name="T19" fmla="*/ 356 h 600"/>
                <a:gd name="T20" fmla="*/ 0 w 599"/>
                <a:gd name="T21" fmla="*/ 244 h 600"/>
                <a:gd name="T22" fmla="*/ 38 w 599"/>
                <a:gd name="T23" fmla="*/ 205 h 600"/>
                <a:gd name="T24" fmla="*/ 180 w 599"/>
                <a:gd name="T25" fmla="*/ 205 h 600"/>
                <a:gd name="T26" fmla="*/ 204 w 599"/>
                <a:gd name="T27" fmla="*/ 205 h 600"/>
                <a:gd name="T28" fmla="*/ 204 w 599"/>
                <a:gd name="T29" fmla="*/ 133 h 600"/>
                <a:gd name="T30" fmla="*/ 204 w 599"/>
                <a:gd name="T31" fmla="*/ 35 h 600"/>
                <a:gd name="T32" fmla="*/ 237 w 599"/>
                <a:gd name="T33" fmla="*/ 0 h 600"/>
                <a:gd name="T34" fmla="*/ 361 w 599"/>
                <a:gd name="T35" fmla="*/ 0 h 600"/>
                <a:gd name="T36" fmla="*/ 395 w 599"/>
                <a:gd name="T37" fmla="*/ 38 h 600"/>
                <a:gd name="T38" fmla="*/ 395 w 599"/>
                <a:gd name="T39" fmla="*/ 204 h 600"/>
                <a:gd name="T40" fmla="*/ 417 w 599"/>
                <a:gd name="T41" fmla="*/ 205 h 600"/>
                <a:gd name="T42" fmla="*/ 559 w 599"/>
                <a:gd name="T43" fmla="*/ 205 h 600"/>
                <a:gd name="T44" fmla="*/ 599 w 599"/>
                <a:gd name="T45" fmla="*/ 245 h 600"/>
                <a:gd name="T46" fmla="*/ 599 w 599"/>
                <a:gd name="T47" fmla="*/ 361 h 600"/>
                <a:gd name="T48" fmla="*/ 565 w 599"/>
                <a:gd name="T49" fmla="*/ 395 h 600"/>
                <a:gd name="T50" fmla="*/ 419 w 599"/>
                <a:gd name="T51" fmla="*/ 395 h 600"/>
                <a:gd name="T52" fmla="*/ 395 w 599"/>
                <a:gd name="T53" fmla="*/ 395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99" h="600">
                  <a:moveTo>
                    <a:pt x="395" y="395"/>
                  </a:moveTo>
                  <a:cubicBezTo>
                    <a:pt x="395" y="452"/>
                    <a:pt x="395" y="505"/>
                    <a:pt x="395" y="559"/>
                  </a:cubicBezTo>
                  <a:cubicBezTo>
                    <a:pt x="395" y="590"/>
                    <a:pt x="385" y="600"/>
                    <a:pt x="355" y="600"/>
                  </a:cubicBezTo>
                  <a:cubicBezTo>
                    <a:pt x="317" y="600"/>
                    <a:pt x="280" y="600"/>
                    <a:pt x="243" y="600"/>
                  </a:cubicBezTo>
                  <a:cubicBezTo>
                    <a:pt x="214" y="600"/>
                    <a:pt x="204" y="590"/>
                    <a:pt x="204" y="560"/>
                  </a:cubicBezTo>
                  <a:cubicBezTo>
                    <a:pt x="204" y="513"/>
                    <a:pt x="204" y="466"/>
                    <a:pt x="204" y="420"/>
                  </a:cubicBezTo>
                  <a:cubicBezTo>
                    <a:pt x="204" y="413"/>
                    <a:pt x="204" y="405"/>
                    <a:pt x="204" y="395"/>
                  </a:cubicBezTo>
                  <a:cubicBezTo>
                    <a:pt x="194" y="395"/>
                    <a:pt x="185" y="395"/>
                    <a:pt x="177" y="395"/>
                  </a:cubicBezTo>
                  <a:cubicBezTo>
                    <a:pt x="131" y="395"/>
                    <a:pt x="85" y="395"/>
                    <a:pt x="39" y="395"/>
                  </a:cubicBezTo>
                  <a:cubicBezTo>
                    <a:pt x="9" y="395"/>
                    <a:pt x="0" y="386"/>
                    <a:pt x="0" y="356"/>
                  </a:cubicBezTo>
                  <a:cubicBezTo>
                    <a:pt x="0" y="318"/>
                    <a:pt x="0" y="281"/>
                    <a:pt x="0" y="244"/>
                  </a:cubicBezTo>
                  <a:cubicBezTo>
                    <a:pt x="0" y="216"/>
                    <a:pt x="10" y="205"/>
                    <a:pt x="38" y="205"/>
                  </a:cubicBezTo>
                  <a:cubicBezTo>
                    <a:pt x="86" y="205"/>
                    <a:pt x="133" y="205"/>
                    <a:pt x="180" y="205"/>
                  </a:cubicBezTo>
                  <a:cubicBezTo>
                    <a:pt x="188" y="205"/>
                    <a:pt x="195" y="205"/>
                    <a:pt x="204" y="205"/>
                  </a:cubicBezTo>
                  <a:cubicBezTo>
                    <a:pt x="204" y="179"/>
                    <a:pt x="204" y="156"/>
                    <a:pt x="204" y="133"/>
                  </a:cubicBezTo>
                  <a:cubicBezTo>
                    <a:pt x="204" y="100"/>
                    <a:pt x="204" y="68"/>
                    <a:pt x="204" y="35"/>
                  </a:cubicBezTo>
                  <a:cubicBezTo>
                    <a:pt x="204" y="14"/>
                    <a:pt x="216" y="1"/>
                    <a:pt x="237" y="0"/>
                  </a:cubicBezTo>
                  <a:cubicBezTo>
                    <a:pt x="278" y="0"/>
                    <a:pt x="320" y="0"/>
                    <a:pt x="361" y="0"/>
                  </a:cubicBezTo>
                  <a:cubicBezTo>
                    <a:pt x="383" y="1"/>
                    <a:pt x="395" y="14"/>
                    <a:pt x="395" y="38"/>
                  </a:cubicBezTo>
                  <a:cubicBezTo>
                    <a:pt x="395" y="93"/>
                    <a:pt x="395" y="147"/>
                    <a:pt x="395" y="204"/>
                  </a:cubicBezTo>
                  <a:cubicBezTo>
                    <a:pt x="403" y="204"/>
                    <a:pt x="410" y="205"/>
                    <a:pt x="417" y="205"/>
                  </a:cubicBezTo>
                  <a:cubicBezTo>
                    <a:pt x="465" y="205"/>
                    <a:pt x="512" y="205"/>
                    <a:pt x="559" y="205"/>
                  </a:cubicBezTo>
                  <a:cubicBezTo>
                    <a:pt x="589" y="205"/>
                    <a:pt x="599" y="216"/>
                    <a:pt x="599" y="245"/>
                  </a:cubicBezTo>
                  <a:cubicBezTo>
                    <a:pt x="599" y="283"/>
                    <a:pt x="599" y="322"/>
                    <a:pt x="599" y="361"/>
                  </a:cubicBezTo>
                  <a:cubicBezTo>
                    <a:pt x="599" y="384"/>
                    <a:pt x="588" y="395"/>
                    <a:pt x="565" y="395"/>
                  </a:cubicBezTo>
                  <a:cubicBezTo>
                    <a:pt x="516" y="395"/>
                    <a:pt x="467" y="395"/>
                    <a:pt x="419" y="395"/>
                  </a:cubicBezTo>
                  <a:cubicBezTo>
                    <a:pt x="412" y="395"/>
                    <a:pt x="405" y="395"/>
                    <a:pt x="395" y="3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defRPr/>
              </a:pPr>
              <a:endParaRPr lang="en-US" sz="160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C281837D-AEC7-451B-9C84-F9A9582D5904}"/>
              </a:ext>
            </a:extLst>
          </p:cNvPr>
          <p:cNvSpPr/>
          <p:nvPr/>
        </p:nvSpPr>
        <p:spPr>
          <a:xfrm>
            <a:off x="335362" y="1242061"/>
            <a:ext cx="439309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В каждом здании будут вести прием врачи </a:t>
            </a:r>
            <a:r>
              <a:rPr lang="ru-RU" sz="1600" b="1" dirty="0">
                <a:solidFill>
                  <a:srgbClr val="48BED8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8</a:t>
            </a:r>
            <a:r>
              <a:rPr lang="ru-RU" sz="16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 </a:t>
            </a:r>
            <a:r>
              <a:rPr lang="ru-RU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специальностей</a:t>
            </a:r>
            <a:endParaRPr lang="ru-RU" sz="1600" dirty="0"/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C12C3070-5CB5-4596-988E-D7A1180A7368}"/>
              </a:ext>
            </a:extLst>
          </p:cNvPr>
          <p:cNvSpPr/>
          <p:nvPr/>
        </p:nvSpPr>
        <p:spPr>
          <a:xfrm>
            <a:off x="7051594" y="1412776"/>
            <a:ext cx="4782387" cy="5245441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180975" algn="just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 каждом здании поликлиник будут располагаться маммограф, рентген или флюорограф, аппараты УЗИ, </a:t>
            </a:r>
            <a:br>
              <a:rPr lang="ru-RU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 также оборудование функциональной диагностики: система мониторирования артериального давления, 12-канальный электрокардиограф</a:t>
            </a:r>
          </a:p>
          <a:p>
            <a:pPr marL="180975" algn="just">
              <a:lnSpc>
                <a:spcPct val="107000"/>
              </a:lnSpc>
              <a:spcBef>
                <a:spcPts val="300"/>
              </a:spcBef>
              <a:defRPr/>
            </a:pPr>
            <a:endParaRPr lang="en-US" sz="1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80975" algn="just">
              <a:lnSpc>
                <a:spcPct val="107000"/>
              </a:lnSpc>
              <a:spcBef>
                <a:spcPts val="300"/>
              </a:spcBef>
              <a:defRPr/>
            </a:pPr>
            <a:endParaRPr lang="ru-RU" sz="16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80975" algn="just">
              <a:lnSpc>
                <a:spcPct val="107000"/>
              </a:lnSpc>
              <a:spcBef>
                <a:spcPts val="300"/>
              </a:spcBef>
              <a:defRPr/>
            </a:pPr>
            <a:r>
              <a:rPr lang="ru-RU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 каждом головном здании поликлиник будут располагаться аппараты МРТ, КТ, денситометр, аппарат УЗИ экспертного класса, </a:t>
            </a:r>
            <a:r>
              <a:rPr lang="ru-RU" sz="1600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редмил</a:t>
            </a:r>
            <a:r>
              <a:rPr lang="ru-RU" sz="16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эндоскопическое оборудование</a:t>
            </a:r>
          </a:p>
        </p:txBody>
      </p:sp>
      <p:pic>
        <p:nvPicPr>
          <p:cNvPr id="47" name="Рисунок 46">
            <a:extLst>
              <a:ext uri="{FF2B5EF4-FFF2-40B4-BE49-F238E27FC236}">
                <a16:creationId xmlns:a16="http://schemas.microsoft.com/office/drawing/2014/main" id="{0A3A2604-954B-4836-9AEC-D6464E01FC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0873" y="1143138"/>
            <a:ext cx="1620721" cy="1610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4635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01F758BE-901A-4DCC-902B-4AB45A4623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27448" y="2348880"/>
            <a:ext cx="10515600" cy="1325563"/>
          </a:xfrm>
        </p:spPr>
        <p:txBody>
          <a:bodyPr>
            <a:normAutofit fontScale="90000"/>
          </a:bodyPr>
          <a:lstStyle/>
          <a:p>
            <a:pPr algn="ctr"/>
            <a:r>
              <a:rPr lang="ru-RU" b="1" dirty="0"/>
              <a:t>Годовой отчет </a:t>
            </a:r>
            <a:br>
              <a:rPr lang="ru-RU" dirty="0"/>
            </a:br>
            <a:r>
              <a:rPr lang="ru-RU" sz="4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Главного врача ГБУЗ «ГП №2 ДЗМ</a:t>
            </a:r>
            <a:r>
              <a:rPr lang="ru-RU" sz="44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» </a:t>
            </a:r>
            <a:br>
              <a:rPr lang="ru-RU" sz="44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ru-RU" sz="44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за 2023 </a:t>
            </a:r>
            <a:r>
              <a:rPr lang="ru-RU" sz="4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год</a:t>
            </a:r>
            <a:br>
              <a:rPr lang="ru-RU" sz="4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endParaRPr lang="ru-RU" dirty="0"/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C7B1B011-B209-46A6-8840-FE9DFFBC33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29468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898"/>
          <a:stretch/>
        </p:blipFill>
        <p:spPr>
          <a:xfrm>
            <a:off x="0" y="-99392"/>
            <a:ext cx="12192000" cy="6984775"/>
          </a:xfrm>
          <a:prstGeom prst="rect">
            <a:avLst/>
          </a:prstGeom>
        </p:spPr>
      </p:pic>
      <p:sp>
        <p:nvSpPr>
          <p:cNvPr id="25" name="Скругленный прямоугольник 24"/>
          <p:cNvSpPr/>
          <p:nvPr/>
        </p:nvSpPr>
        <p:spPr>
          <a:xfrm>
            <a:off x="695325" y="1124744"/>
            <a:ext cx="10801350" cy="3094341"/>
          </a:xfrm>
          <a:prstGeom prst="roundRect">
            <a:avLst>
              <a:gd name="adj" fmla="val 1954"/>
            </a:avLst>
          </a:prstGeom>
          <a:solidFill>
            <a:srgbClr val="B7E4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4295800" y="1297524"/>
            <a:ext cx="1440160" cy="2722092"/>
          </a:xfrm>
          <a:prstGeom prst="roundRect">
            <a:avLst>
              <a:gd name="adj" fmla="val 4497"/>
            </a:avLst>
          </a:prstGeom>
          <a:solidFill>
            <a:srgbClr val="D3EF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6096000" y="1297524"/>
            <a:ext cx="1440160" cy="2722092"/>
          </a:xfrm>
          <a:prstGeom prst="roundRect">
            <a:avLst>
              <a:gd name="adj" fmla="val 4497"/>
            </a:avLst>
          </a:prstGeom>
          <a:solidFill>
            <a:srgbClr val="D3EF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7896125" y="1297524"/>
            <a:ext cx="1440160" cy="2722092"/>
          </a:xfrm>
          <a:prstGeom prst="roundRect">
            <a:avLst>
              <a:gd name="adj" fmla="val 4497"/>
            </a:avLst>
          </a:prstGeom>
          <a:solidFill>
            <a:srgbClr val="D3EF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9696400" y="1297524"/>
            <a:ext cx="1440160" cy="2722092"/>
          </a:xfrm>
          <a:prstGeom prst="roundRect">
            <a:avLst>
              <a:gd name="adj" fmla="val 4497"/>
            </a:avLst>
          </a:prstGeom>
          <a:solidFill>
            <a:srgbClr val="D3EF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2495600" y="1297524"/>
            <a:ext cx="1440160" cy="2722092"/>
          </a:xfrm>
          <a:prstGeom prst="roundRect">
            <a:avLst>
              <a:gd name="adj" fmla="val 4497"/>
            </a:avLst>
          </a:prstGeom>
          <a:solidFill>
            <a:srgbClr val="D3EF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95325" y="549275"/>
            <a:ext cx="10515600" cy="541655"/>
          </a:xfrm>
        </p:spPr>
        <p:txBody>
          <a:bodyPr>
            <a:normAutofit/>
          </a:bodyPr>
          <a:lstStyle/>
          <a:p>
            <a:r>
              <a:rPr lang="ru-RU" sz="3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Основные показатели</a:t>
            </a:r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2495600" y="1309559"/>
            <a:ext cx="1440160" cy="5416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ГП № 2 </a:t>
            </a:r>
          </a:p>
          <a:p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Главное здание</a:t>
            </a: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4295800" y="1304509"/>
            <a:ext cx="1440160" cy="5416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3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ГП № 2 </a:t>
            </a:r>
          </a:p>
          <a:p>
            <a:r>
              <a:rPr lang="ru-RU" sz="13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Филиал 1</a:t>
            </a:r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6096000" y="1304509"/>
            <a:ext cx="1440160" cy="5416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3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ГП № 2 </a:t>
            </a:r>
          </a:p>
          <a:p>
            <a:r>
              <a:rPr lang="ru-RU" sz="13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Филиал 2</a:t>
            </a: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7896200" y="1297524"/>
            <a:ext cx="1440160" cy="5416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3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ГП № 2 </a:t>
            </a:r>
          </a:p>
          <a:p>
            <a:r>
              <a:rPr lang="ru-RU" sz="13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Филиал 3</a:t>
            </a:r>
          </a:p>
        </p:txBody>
      </p:sp>
      <p:sp>
        <p:nvSpPr>
          <p:cNvPr id="8" name="Заголовок 1"/>
          <p:cNvSpPr txBox="1">
            <a:spLocks/>
          </p:cNvSpPr>
          <p:nvPr/>
        </p:nvSpPr>
        <p:spPr>
          <a:xfrm>
            <a:off x="9696400" y="1297524"/>
            <a:ext cx="1440160" cy="5416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3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ГП № 2 </a:t>
            </a:r>
          </a:p>
          <a:p>
            <a:r>
              <a:rPr lang="ru-RU" sz="13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Филиал 4</a:t>
            </a:r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660278" y="2280858"/>
            <a:ext cx="1835322" cy="2880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Мощность</a:t>
            </a: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695325" y="549275"/>
            <a:ext cx="10801350" cy="0"/>
          </a:xfrm>
          <a:prstGeom prst="line">
            <a:avLst/>
          </a:prstGeom>
          <a:ln w="57150">
            <a:solidFill>
              <a:srgbClr val="49BE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Заголовок 1"/>
          <p:cNvSpPr txBox="1">
            <a:spLocks/>
          </p:cNvSpPr>
          <p:nvPr/>
        </p:nvSpPr>
        <p:spPr>
          <a:xfrm>
            <a:off x="2495600" y="1839179"/>
            <a:ext cx="1440160" cy="124532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500 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посещений 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 смену по данным ЕМИАС</a:t>
            </a:r>
          </a:p>
        </p:txBody>
      </p:sp>
      <p:sp>
        <p:nvSpPr>
          <p:cNvPr id="15" name="Заголовок 1"/>
          <p:cNvSpPr txBox="1">
            <a:spLocks/>
          </p:cNvSpPr>
          <p:nvPr/>
        </p:nvSpPr>
        <p:spPr>
          <a:xfrm>
            <a:off x="6096000" y="1846164"/>
            <a:ext cx="1440160" cy="109208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598 </a:t>
            </a:r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посещений 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 смену по данным ЕМИАС</a:t>
            </a:r>
          </a:p>
        </p:txBody>
      </p:sp>
      <p:sp>
        <p:nvSpPr>
          <p:cNvPr id="16" name="Заголовок 1"/>
          <p:cNvSpPr txBox="1">
            <a:spLocks/>
          </p:cNvSpPr>
          <p:nvPr/>
        </p:nvSpPr>
        <p:spPr>
          <a:xfrm>
            <a:off x="4295800" y="1839179"/>
            <a:ext cx="1440160" cy="101435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742</a:t>
            </a:r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посещений 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 смену по данным ЕМИАС</a:t>
            </a:r>
          </a:p>
        </p:txBody>
      </p:sp>
      <p:sp>
        <p:nvSpPr>
          <p:cNvPr id="17" name="Заголовок 1"/>
          <p:cNvSpPr txBox="1">
            <a:spLocks/>
          </p:cNvSpPr>
          <p:nvPr/>
        </p:nvSpPr>
        <p:spPr>
          <a:xfrm>
            <a:off x="7896200" y="1846165"/>
            <a:ext cx="1440160" cy="109208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672 </a:t>
            </a:r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посещений 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 смену по данным ЕМИАС</a:t>
            </a:r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9696400" y="1846164"/>
            <a:ext cx="1440160" cy="109333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395 </a:t>
            </a:r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посещений 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 смену по данным ЕМИАС</a:t>
            </a:r>
          </a:p>
        </p:txBody>
      </p:sp>
      <p:sp>
        <p:nvSpPr>
          <p:cNvPr id="19" name="Заголовок 1"/>
          <p:cNvSpPr txBox="1">
            <a:spLocks/>
          </p:cNvSpPr>
          <p:nvPr/>
        </p:nvSpPr>
        <p:spPr>
          <a:xfrm>
            <a:off x="2495600" y="2830594"/>
            <a:ext cx="1440160" cy="130161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2 135 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человек (7 872 человека старше трудоспособного возраста)</a:t>
            </a:r>
          </a:p>
        </p:txBody>
      </p:sp>
      <p:sp>
        <p:nvSpPr>
          <p:cNvPr id="20" name="Заголовок 1"/>
          <p:cNvSpPr txBox="1">
            <a:spLocks/>
          </p:cNvSpPr>
          <p:nvPr/>
        </p:nvSpPr>
        <p:spPr>
          <a:xfrm>
            <a:off x="695325" y="3469847"/>
            <a:ext cx="1800275" cy="42729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Прикрепленное население</a:t>
            </a:r>
          </a:p>
        </p:txBody>
      </p:sp>
      <p:sp>
        <p:nvSpPr>
          <p:cNvPr id="31" name="Заголовок 1"/>
          <p:cNvSpPr txBox="1">
            <a:spLocks/>
          </p:cNvSpPr>
          <p:nvPr/>
        </p:nvSpPr>
        <p:spPr>
          <a:xfrm>
            <a:off x="671945" y="4449260"/>
            <a:ext cx="10538980" cy="3325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Численность прикрепленного населения</a:t>
            </a:r>
          </a:p>
        </p:txBody>
      </p:sp>
      <p:sp>
        <p:nvSpPr>
          <p:cNvPr id="32" name="Заголовок 1"/>
          <p:cNvSpPr txBox="1">
            <a:spLocks/>
          </p:cNvSpPr>
          <p:nvPr/>
        </p:nvSpPr>
        <p:spPr>
          <a:xfrm>
            <a:off x="2794920" y="5445224"/>
            <a:ext cx="1800276" cy="88335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5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</a:t>
            </a:r>
            <a:r>
              <a:rPr lang="ru-RU" sz="35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46 523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человек</a:t>
            </a:r>
          </a:p>
        </p:txBody>
      </p:sp>
      <p:graphicFrame>
        <p:nvGraphicFramePr>
          <p:cNvPr id="38" name="Диаграмма 37"/>
          <p:cNvGraphicFramePr/>
          <p:nvPr>
            <p:extLst>
              <p:ext uri="{D42A27DB-BD31-4B8C-83A1-F6EECF244321}">
                <p14:modId xmlns:p14="http://schemas.microsoft.com/office/powerpoint/2010/main" val="3917260203"/>
              </p:ext>
            </p:extLst>
          </p:nvPr>
        </p:nvGraphicFramePr>
        <p:xfrm>
          <a:off x="4327184" y="4702086"/>
          <a:ext cx="6505729" cy="20782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34" name="Рисунок 3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456" y="1566202"/>
            <a:ext cx="695612" cy="695612"/>
          </a:xfrm>
          <a:prstGeom prst="rect">
            <a:avLst/>
          </a:prstGeom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538" y="2707010"/>
            <a:ext cx="720413" cy="720413"/>
          </a:xfrm>
          <a:prstGeom prst="rect">
            <a:avLst/>
          </a:prstGeom>
        </p:spPr>
      </p:pic>
      <p:pic>
        <p:nvPicPr>
          <p:cNvPr id="39" name="Рисунок 3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5087" y="2759367"/>
            <a:ext cx="665148" cy="665148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408" y="4927585"/>
            <a:ext cx="1414280" cy="1414280"/>
          </a:xfrm>
          <a:prstGeom prst="rect">
            <a:avLst/>
          </a:prstGeom>
        </p:spPr>
      </p:pic>
      <p:pic>
        <p:nvPicPr>
          <p:cNvPr id="41" name="Рисунок 4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0102" y="5033169"/>
            <a:ext cx="1305787" cy="1305787"/>
          </a:xfrm>
          <a:prstGeom prst="rect">
            <a:avLst/>
          </a:prstGeom>
        </p:spPr>
      </p:pic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t>2</a:t>
            </a:fld>
            <a:endParaRPr lang="ru-RU"/>
          </a:p>
        </p:txBody>
      </p:sp>
      <p:sp>
        <p:nvSpPr>
          <p:cNvPr id="42" name="Заголовок 1"/>
          <p:cNvSpPr txBox="1">
            <a:spLocks/>
          </p:cNvSpPr>
          <p:nvPr/>
        </p:nvSpPr>
        <p:spPr>
          <a:xfrm>
            <a:off x="4295800" y="2830594"/>
            <a:ext cx="1440160" cy="130161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38 794 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человек (19 481 человек старше трудоспособного возраста)</a:t>
            </a:r>
          </a:p>
        </p:txBody>
      </p:sp>
      <p:sp>
        <p:nvSpPr>
          <p:cNvPr id="43" name="Заголовок 1"/>
          <p:cNvSpPr txBox="1">
            <a:spLocks/>
          </p:cNvSpPr>
          <p:nvPr/>
        </p:nvSpPr>
        <p:spPr>
          <a:xfrm>
            <a:off x="6096000" y="2830594"/>
            <a:ext cx="1440160" cy="153351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33 240 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человек (15 644 человека старше трудоспособного возраста)</a:t>
            </a:r>
          </a:p>
        </p:txBody>
      </p:sp>
      <p:sp>
        <p:nvSpPr>
          <p:cNvPr id="44" name="Заголовок 1"/>
          <p:cNvSpPr txBox="1">
            <a:spLocks/>
          </p:cNvSpPr>
          <p:nvPr/>
        </p:nvSpPr>
        <p:spPr>
          <a:xfrm>
            <a:off x="7896200" y="2844977"/>
            <a:ext cx="1440160" cy="128723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35983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человек (16 905 человек старше трудоспособного возраста)</a:t>
            </a:r>
          </a:p>
        </p:txBody>
      </p:sp>
      <p:sp>
        <p:nvSpPr>
          <p:cNvPr id="45" name="Заголовок 1"/>
          <p:cNvSpPr txBox="1">
            <a:spLocks/>
          </p:cNvSpPr>
          <p:nvPr/>
        </p:nvSpPr>
        <p:spPr>
          <a:xfrm>
            <a:off x="9696400" y="2844977"/>
            <a:ext cx="1440160" cy="13196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1244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человек (10 337 человек старше трудоспособного возраста)</a:t>
            </a:r>
          </a:p>
        </p:txBody>
      </p:sp>
    </p:spTree>
    <p:extLst>
      <p:ext uri="{BB962C8B-B14F-4D97-AF65-F5344CB8AC3E}">
        <p14:creationId xmlns:p14="http://schemas.microsoft.com/office/powerpoint/2010/main" val="25823437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898"/>
          <a:stretch/>
        </p:blipFill>
        <p:spPr>
          <a:xfrm>
            <a:off x="0" y="-99392"/>
            <a:ext cx="12192000" cy="6984775"/>
          </a:xfrm>
          <a:prstGeom prst="rect">
            <a:avLst/>
          </a:prstGeom>
        </p:spPr>
      </p:pic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695325" y="549275"/>
            <a:ext cx="5544692" cy="863501"/>
          </a:xfrm>
        </p:spPr>
        <p:txBody>
          <a:bodyPr anchor="t">
            <a:normAutofit fontScale="90000"/>
          </a:bodyPr>
          <a:lstStyle/>
          <a:p>
            <a:r>
              <a:rPr lang="ru-RU" sz="3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Дорогостоящее оборудование поликлиники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695325" y="549275"/>
            <a:ext cx="5688707" cy="0"/>
          </a:xfrm>
          <a:prstGeom prst="line">
            <a:avLst/>
          </a:prstGeom>
          <a:ln w="57150">
            <a:solidFill>
              <a:srgbClr val="49BE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01" r="33900"/>
          <a:stretch/>
        </p:blipFill>
        <p:spPr>
          <a:xfrm>
            <a:off x="6960096" y="-99392"/>
            <a:ext cx="5231904" cy="7018077"/>
          </a:xfrm>
          <a:prstGeom prst="rect">
            <a:avLst/>
          </a:prstGeom>
        </p:spPr>
      </p:pic>
      <p:sp>
        <p:nvSpPr>
          <p:cNvPr id="8" name="Скругленный прямоугольник 7"/>
          <p:cNvSpPr/>
          <p:nvPr/>
        </p:nvSpPr>
        <p:spPr>
          <a:xfrm>
            <a:off x="695324" y="1556792"/>
            <a:ext cx="4104532" cy="4320480"/>
          </a:xfrm>
          <a:prstGeom prst="roundRect">
            <a:avLst>
              <a:gd name="adj" fmla="val 195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Содержимое 3"/>
          <p:cNvSpPr>
            <a:spLocks noGrp="1"/>
          </p:cNvSpPr>
          <p:nvPr>
            <p:ph sz="half" idx="1"/>
          </p:nvPr>
        </p:nvSpPr>
        <p:spPr>
          <a:xfrm>
            <a:off x="911424" y="1745433"/>
            <a:ext cx="5328592" cy="4203847"/>
          </a:xfrm>
        </p:spPr>
        <p:txBody>
          <a:bodyPr>
            <a:normAutofit lnSpcReduction="10000"/>
          </a:bodyPr>
          <a:lstStyle/>
          <a:p>
            <a:pPr lvl="0">
              <a:lnSpc>
                <a:spcPct val="130000"/>
              </a:lnSpc>
            </a:pPr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КТ 			1</a:t>
            </a:r>
            <a:r>
              <a:rPr lang="ru-RU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ед.</a:t>
            </a:r>
            <a:endParaRPr lang="ru-RU" sz="1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lvl="0">
              <a:lnSpc>
                <a:spcPct val="130000"/>
              </a:lnSpc>
            </a:pPr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МРТ</a:t>
            </a:r>
            <a:r>
              <a:rPr lang="ru-RU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			1 ед.</a:t>
            </a:r>
            <a:endParaRPr lang="ru-RU" sz="1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lvl="0">
              <a:lnSpc>
                <a:spcPct val="130000"/>
              </a:lnSpc>
            </a:pPr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Денситометры</a:t>
            </a:r>
            <a:r>
              <a:rPr lang="ru-RU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		1 ед.</a:t>
            </a:r>
            <a:endParaRPr lang="ru-RU" sz="1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lvl="0">
              <a:lnSpc>
                <a:spcPct val="130000"/>
              </a:lnSpc>
            </a:pPr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Рентгены</a:t>
            </a:r>
            <a:r>
              <a:rPr lang="ru-RU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		6 ед.</a:t>
            </a:r>
            <a:endParaRPr lang="ru-RU" sz="1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lvl="0">
              <a:lnSpc>
                <a:spcPct val="130000"/>
              </a:lnSpc>
            </a:pPr>
            <a:r>
              <a:rPr lang="ru-RU" sz="14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Флюорографы</a:t>
            </a:r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		</a:t>
            </a:r>
            <a:r>
              <a:rPr lang="ru-RU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4 ед.</a:t>
            </a:r>
          </a:p>
          <a:p>
            <a:pPr lvl="0">
              <a:lnSpc>
                <a:spcPct val="130000"/>
              </a:lnSpc>
            </a:pPr>
            <a:r>
              <a:rPr lang="ru-RU" sz="14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Маммографы</a:t>
            </a:r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                                        4 ед.</a:t>
            </a:r>
          </a:p>
          <a:p>
            <a:pPr lvl="0">
              <a:lnSpc>
                <a:spcPct val="130000"/>
              </a:lnSpc>
            </a:pPr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УЗИ</a:t>
            </a:r>
            <a:r>
              <a:rPr lang="ru-RU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			11 ед.</a:t>
            </a:r>
            <a:endParaRPr lang="ru-RU" sz="1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lvl="0" indent="0">
              <a:lnSpc>
                <a:spcPct val="130000"/>
              </a:lnSpc>
              <a:buNone/>
            </a:pPr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     Из них экспертного класса</a:t>
            </a:r>
            <a:r>
              <a:rPr lang="ru-RU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	3 ед.</a:t>
            </a:r>
            <a:endParaRPr lang="ru-RU" sz="1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lvl="0">
              <a:lnSpc>
                <a:spcPct val="130000"/>
              </a:lnSpc>
            </a:pPr>
            <a:r>
              <a:rPr lang="ru-RU" sz="14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Холтер</a:t>
            </a:r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			</a:t>
            </a:r>
            <a:r>
              <a:rPr lang="ru-RU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7 ед.</a:t>
            </a:r>
            <a:endParaRPr lang="ru-RU" sz="1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lvl="0">
              <a:lnSpc>
                <a:spcPct val="130000"/>
              </a:lnSpc>
            </a:pPr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СМАД</a:t>
            </a:r>
            <a:r>
              <a:rPr lang="ru-RU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			30 ед. </a:t>
            </a:r>
          </a:p>
          <a:p>
            <a:pPr lvl="0">
              <a:lnSpc>
                <a:spcPct val="130000"/>
              </a:lnSpc>
            </a:pPr>
            <a:r>
              <a:rPr lang="ru-RU" sz="14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Тредмил</a:t>
            </a:r>
            <a:r>
              <a:rPr lang="ru-RU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                                               2 ЕД</a:t>
            </a:r>
            <a:endParaRPr lang="ru-RU" sz="1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97550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Объект 10">
            <a:extLst>
              <a:ext uri="{FF2B5EF4-FFF2-40B4-BE49-F238E27FC236}">
                <a16:creationId xmlns:a16="http://schemas.microsoft.com/office/drawing/2014/main" id="{4E0463CC-0ABB-44D3-A54C-1D8B399ECC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dirty="0"/>
              <a:t>Посещения 2023 году:</a:t>
            </a:r>
          </a:p>
          <a:p>
            <a:pPr>
              <a:buFontTx/>
              <a:buChar char="-"/>
            </a:pPr>
            <a:r>
              <a:rPr lang="ru-RU" dirty="0"/>
              <a:t>Помощь на дому;</a:t>
            </a:r>
          </a:p>
          <a:p>
            <a:pPr>
              <a:buFontTx/>
              <a:buChar char="-"/>
            </a:pPr>
            <a:r>
              <a:rPr lang="ru-RU" dirty="0"/>
              <a:t>Посещения к дежурному врачу;</a:t>
            </a:r>
          </a:p>
          <a:p>
            <a:pPr>
              <a:buFontTx/>
              <a:buChar char="-"/>
            </a:pPr>
            <a:r>
              <a:rPr lang="ru-RU" dirty="0"/>
              <a:t>Посещение врачей специалистов.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t>4</a:t>
            </a:fld>
            <a:endParaRPr lang="ru-RU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4655839" y="549275"/>
            <a:ext cx="6840836" cy="0"/>
          </a:xfrm>
          <a:prstGeom prst="line">
            <a:avLst/>
          </a:prstGeom>
          <a:ln w="57150">
            <a:solidFill>
              <a:srgbClr val="49BE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8" name="Диаграмма 27"/>
          <p:cNvGraphicFramePr/>
          <p:nvPr>
            <p:extLst>
              <p:ext uri="{D42A27DB-BD31-4B8C-83A1-F6EECF244321}">
                <p14:modId xmlns:p14="http://schemas.microsoft.com/office/powerpoint/2010/main" val="976074321"/>
              </p:ext>
            </p:extLst>
          </p:nvPr>
        </p:nvGraphicFramePr>
        <p:xfrm>
          <a:off x="4808672" y="2924944"/>
          <a:ext cx="3159536" cy="35808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395" t="2750" r="32046"/>
          <a:stretch/>
        </p:blipFill>
        <p:spPr>
          <a:xfrm>
            <a:off x="-7786" y="-2960"/>
            <a:ext cx="4417168" cy="6860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10936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898"/>
          <a:stretch/>
        </p:blipFill>
        <p:spPr>
          <a:xfrm>
            <a:off x="0" y="-99392"/>
            <a:ext cx="12192000" cy="6984775"/>
          </a:xfrm>
          <a:prstGeom prst="rect">
            <a:avLst/>
          </a:prstGeom>
        </p:spPr>
      </p:pic>
      <p:sp>
        <p:nvSpPr>
          <p:cNvPr id="5" name="Скругленный прямоугольник 4"/>
          <p:cNvSpPr/>
          <p:nvPr/>
        </p:nvSpPr>
        <p:spPr>
          <a:xfrm>
            <a:off x="695326" y="1988840"/>
            <a:ext cx="5234600" cy="3888432"/>
          </a:xfrm>
          <a:prstGeom prst="roundRect">
            <a:avLst>
              <a:gd name="adj" fmla="val 195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695324" y="549275"/>
            <a:ext cx="11161315" cy="1007517"/>
          </a:xfrm>
        </p:spPr>
        <p:txBody>
          <a:bodyPr anchor="t">
            <a:normAutofit/>
          </a:bodyPr>
          <a:lstStyle/>
          <a:p>
            <a:r>
              <a:rPr lang="ru-RU" sz="3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Прививочная работа: гепатит, корь, краснуха, дифтерия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695325" y="549275"/>
            <a:ext cx="10801350" cy="0"/>
          </a:xfrm>
          <a:prstGeom prst="line">
            <a:avLst/>
          </a:prstGeom>
          <a:ln w="57150">
            <a:solidFill>
              <a:srgbClr val="49BE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893529" y="1943375"/>
            <a:ext cx="4453523" cy="37474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акцинация против гриппа</a:t>
            </a:r>
            <a:endParaRPr lang="en-U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lnSpc>
                <a:spcPct val="150000"/>
              </a:lnSpc>
            </a:pPr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акцинация</a:t>
            </a:r>
            <a:r>
              <a:rPr lang="en-US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против гепатита В </a:t>
            </a:r>
          </a:p>
          <a:p>
            <a:pPr>
              <a:lnSpc>
                <a:spcPct val="150000"/>
              </a:lnSpc>
            </a:pPr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акцинация против гепатита А</a:t>
            </a:r>
          </a:p>
          <a:p>
            <a:pPr>
              <a:lnSpc>
                <a:spcPct val="150000"/>
              </a:lnSpc>
            </a:pPr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Ревакцинация против гепатита А</a:t>
            </a:r>
          </a:p>
          <a:p>
            <a:pPr>
              <a:lnSpc>
                <a:spcPct val="150000"/>
              </a:lnSpc>
            </a:pPr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акцинация против кори</a:t>
            </a:r>
          </a:p>
          <a:p>
            <a:pPr>
              <a:lnSpc>
                <a:spcPct val="150000"/>
              </a:lnSpc>
            </a:pPr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Ревакцинация против кори</a:t>
            </a:r>
          </a:p>
          <a:p>
            <a:pPr>
              <a:lnSpc>
                <a:spcPct val="150000"/>
              </a:lnSpc>
            </a:pPr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акцинация против краснухи</a:t>
            </a:r>
          </a:p>
          <a:p>
            <a:pPr>
              <a:lnSpc>
                <a:spcPct val="150000"/>
              </a:lnSpc>
            </a:pPr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Ревакцинация против краснухи</a:t>
            </a:r>
          </a:p>
          <a:p>
            <a:pPr>
              <a:lnSpc>
                <a:spcPct val="150000"/>
              </a:lnSpc>
            </a:pPr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акцинация против дифтерии</a:t>
            </a:r>
          </a:p>
          <a:p>
            <a:pPr>
              <a:lnSpc>
                <a:spcPct val="150000"/>
              </a:lnSpc>
            </a:pPr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Ревакцинация против дифтерии</a:t>
            </a:r>
          </a:p>
        </p:txBody>
      </p:sp>
      <p:sp>
        <p:nvSpPr>
          <p:cNvPr id="9" name="Овал 8"/>
          <p:cNvSpPr/>
          <p:nvPr/>
        </p:nvSpPr>
        <p:spPr>
          <a:xfrm>
            <a:off x="6960096" y="1795811"/>
            <a:ext cx="4297485" cy="4297485"/>
          </a:xfrm>
          <a:prstGeom prst="ellipse">
            <a:avLst/>
          </a:prstGeom>
          <a:solidFill>
            <a:srgbClr val="49BE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3" name="Прямая со стрелкой 12"/>
          <p:cNvCxnSpPr/>
          <p:nvPr/>
        </p:nvCxnSpPr>
        <p:spPr>
          <a:xfrm>
            <a:off x="5929926" y="4005064"/>
            <a:ext cx="814146" cy="0"/>
          </a:xfrm>
          <a:prstGeom prst="straightConnector1">
            <a:avLst/>
          </a:prstGeom>
          <a:ln w="28575" cap="rnd" cmpd="sng">
            <a:solidFill>
              <a:srgbClr val="49BED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5900863" y="1988840"/>
            <a:ext cx="29062" cy="3888432"/>
          </a:xfrm>
          <a:prstGeom prst="line">
            <a:avLst/>
          </a:prstGeom>
          <a:ln w="57150">
            <a:solidFill>
              <a:srgbClr val="49BE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Рисунок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7718" y="2348880"/>
            <a:ext cx="1988722" cy="1988722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28229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5375920" y="549275"/>
            <a:ext cx="5904656" cy="935509"/>
          </a:xfrm>
        </p:spPr>
        <p:txBody>
          <a:bodyPr>
            <a:normAutofit/>
          </a:bodyPr>
          <a:lstStyle/>
          <a:p>
            <a:r>
              <a:rPr lang="ru-RU" sz="3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Основные показатели. Инвалиды </a:t>
            </a:r>
            <a:br>
              <a:rPr lang="en-US" sz="3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ru-RU" sz="3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и участники ВОВ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5375920" y="549275"/>
            <a:ext cx="6552728" cy="0"/>
          </a:xfrm>
          <a:prstGeom prst="line">
            <a:avLst/>
          </a:prstGeom>
          <a:ln w="57150">
            <a:solidFill>
              <a:srgbClr val="49BE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Скругленный прямоугольник 11"/>
          <p:cNvSpPr/>
          <p:nvPr/>
        </p:nvSpPr>
        <p:spPr>
          <a:xfrm>
            <a:off x="5447928" y="1628800"/>
            <a:ext cx="6556954" cy="5040560"/>
          </a:xfrm>
          <a:prstGeom prst="roundRect">
            <a:avLst>
              <a:gd name="adj" fmla="val 195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0933777"/>
              </p:ext>
            </p:extLst>
          </p:nvPr>
        </p:nvGraphicFramePr>
        <p:xfrm>
          <a:off x="5663952" y="1844824"/>
          <a:ext cx="6192688" cy="428467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104456">
                  <a:extLst>
                    <a:ext uri="{9D8B030D-6E8A-4147-A177-3AD203B41FA5}">
                      <a16:colId xmlns:a16="http://schemas.microsoft.com/office/drawing/2014/main" val="2820415514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val="2334483666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468174681"/>
                    </a:ext>
                  </a:extLst>
                </a:gridCol>
              </a:tblGrid>
              <a:tr h="3240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Наименование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tx1"/>
                          </a:solidFill>
                        </a:rPr>
                        <a:t>Участники ВОВ (кроме ИОВ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tx1"/>
                          </a:solidFill>
                        </a:rPr>
                        <a:t>Инвалиды 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ru-RU" sz="1000" b="1" dirty="0">
                          <a:solidFill>
                            <a:schemeClr val="tx1"/>
                          </a:solidFill>
                        </a:rPr>
                        <a:t>ВОВ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5891157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r>
                        <a:rPr lang="ru-RU" sz="900" b="0" u="none" strike="noStrike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Состоит под диспансерным наблюдением на начало отчетного года</a:t>
                      </a:r>
                      <a:endParaRPr lang="ru-RU" sz="900" b="0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0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0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1939411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u="none" strike="noStrike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Вновь взято под диспансерное наблюдение в отчетном году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b="0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b="0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9229980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u="none" strike="noStrike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Снято с диспансерного наблюдения в течении отчетного года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4,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44,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6360223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u="none" strike="noStrike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из них: выехало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,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,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7551713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u="none" strike="noStrike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Состоит под диспансерным наблюдением на конец отчетного года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0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0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5757142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r>
                        <a:rPr lang="ru-RU" sz="900" b="0" u="none" strike="noStrike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в том числе по группам инвалидности: I</a:t>
                      </a:r>
                      <a:endParaRPr lang="ru-RU" sz="900" b="0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2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9,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2040145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u="none" strike="noStrike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                                                                          II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6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73,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67382446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r>
                        <a:rPr lang="en-US" sz="900" b="0" u="none" strike="noStrike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                                                                          III</a:t>
                      </a:r>
                      <a:endParaRPr lang="ru-RU" sz="900" b="0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7 %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0594822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u="none" strike="noStrike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Охвачено комплексными медицинскими осмотрами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91,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89,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80705554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u="none" strike="noStrike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Нуждались в стационарном лечении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4,7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1,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5485517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u="none" strike="noStrike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Получили стационарное лечение из числа нуждавшихся 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1,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8,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2443554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u="none" strike="noStrike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Получили санаторно-курортное лечение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8,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0,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7400092"/>
                  </a:ext>
                </a:extLst>
              </a:tr>
            </a:tbl>
          </a:graphicData>
        </a:graphic>
      </p:graphicFrame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27" r="34253"/>
          <a:stretch/>
        </p:blipFill>
        <p:spPr>
          <a:xfrm>
            <a:off x="-4226" y="0"/>
            <a:ext cx="5231904" cy="6858000"/>
          </a:xfrm>
          <a:prstGeom prst="rect">
            <a:avLst/>
          </a:prstGeom>
        </p:spPr>
      </p:pic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76147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Рисунок 2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898"/>
          <a:stretch/>
        </p:blipFill>
        <p:spPr>
          <a:xfrm>
            <a:off x="0" y="-99392"/>
            <a:ext cx="12192000" cy="6984775"/>
          </a:xfrm>
          <a:prstGeom prst="rect">
            <a:avLst/>
          </a:prstGeom>
        </p:spPr>
      </p:pic>
      <p:sp>
        <p:nvSpPr>
          <p:cNvPr id="31" name="Заголовок 1"/>
          <p:cNvSpPr>
            <a:spLocks noGrp="1"/>
          </p:cNvSpPr>
          <p:nvPr>
            <p:ph type="title"/>
          </p:nvPr>
        </p:nvSpPr>
        <p:spPr>
          <a:xfrm>
            <a:off x="695324" y="549275"/>
            <a:ext cx="11161315" cy="541655"/>
          </a:xfrm>
        </p:spPr>
        <p:txBody>
          <a:bodyPr>
            <a:normAutofit/>
          </a:bodyPr>
          <a:lstStyle/>
          <a:p>
            <a:r>
              <a:rPr lang="ru-RU" sz="3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Работа по рассмотрению жалоб и обращений граждан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695325" y="549275"/>
            <a:ext cx="10801350" cy="0"/>
          </a:xfrm>
          <a:prstGeom prst="line">
            <a:avLst/>
          </a:prstGeom>
          <a:ln w="57150">
            <a:solidFill>
              <a:srgbClr val="49BE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Заголовок 1"/>
          <p:cNvSpPr txBox="1">
            <a:spLocks/>
          </p:cNvSpPr>
          <p:nvPr/>
        </p:nvSpPr>
        <p:spPr>
          <a:xfrm>
            <a:off x="2927648" y="4845468"/>
            <a:ext cx="8280920" cy="15675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се обращения пациентов рассматриваются в индивидуальном порядке</a:t>
            </a:r>
          </a:p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 случае негативного содержания обращения, специалисты поликлиники вступают в диалог с пациентом и детализируют проблему для ее решения</a:t>
            </a:r>
          </a:p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Изучаются предложения граждан по улучшению работы поликлиники, руководство использует обратную связь от пациентов для совершенствования оказания медицинской помощи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42" y="4845468"/>
            <a:ext cx="1502324" cy="1502324"/>
          </a:xfrm>
          <a:prstGeom prst="rect">
            <a:avLst/>
          </a:prstGeom>
        </p:spPr>
      </p:pic>
      <p:sp>
        <p:nvSpPr>
          <p:cNvPr id="30" name="Скругленный прямоугольник 29"/>
          <p:cNvSpPr/>
          <p:nvPr/>
        </p:nvSpPr>
        <p:spPr>
          <a:xfrm>
            <a:off x="695325" y="1124744"/>
            <a:ext cx="10801350" cy="3024336"/>
          </a:xfrm>
          <a:prstGeom prst="roundRect">
            <a:avLst>
              <a:gd name="adj" fmla="val 1954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Скругленный прямоугольник 47"/>
          <p:cNvSpPr/>
          <p:nvPr/>
        </p:nvSpPr>
        <p:spPr>
          <a:xfrm>
            <a:off x="4181663" y="1880711"/>
            <a:ext cx="1440160" cy="1980337"/>
          </a:xfrm>
          <a:prstGeom prst="roundRect">
            <a:avLst>
              <a:gd name="adj" fmla="val 4497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Скругленный прямоугольник 57"/>
          <p:cNvSpPr/>
          <p:nvPr/>
        </p:nvSpPr>
        <p:spPr>
          <a:xfrm>
            <a:off x="6096000" y="1844824"/>
            <a:ext cx="1440160" cy="1980337"/>
          </a:xfrm>
          <a:prstGeom prst="roundRect">
            <a:avLst>
              <a:gd name="adj" fmla="val 4497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Скругленный прямоугольник 58"/>
          <p:cNvSpPr/>
          <p:nvPr/>
        </p:nvSpPr>
        <p:spPr>
          <a:xfrm>
            <a:off x="7896125" y="1844824"/>
            <a:ext cx="1440160" cy="1980337"/>
          </a:xfrm>
          <a:prstGeom prst="roundRect">
            <a:avLst>
              <a:gd name="adj" fmla="val 4497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9696400" y="1844824"/>
            <a:ext cx="1440160" cy="1980337"/>
          </a:xfrm>
          <a:prstGeom prst="roundRect">
            <a:avLst>
              <a:gd name="adj" fmla="val 4497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Скругленный прямоугольник 60"/>
          <p:cNvSpPr/>
          <p:nvPr/>
        </p:nvSpPr>
        <p:spPr>
          <a:xfrm>
            <a:off x="2495600" y="1844824"/>
            <a:ext cx="1440160" cy="1980337"/>
          </a:xfrm>
          <a:prstGeom prst="roundRect">
            <a:avLst>
              <a:gd name="adj" fmla="val 4497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Заголовок 1"/>
          <p:cNvSpPr txBox="1">
            <a:spLocks/>
          </p:cNvSpPr>
          <p:nvPr/>
        </p:nvSpPr>
        <p:spPr>
          <a:xfrm>
            <a:off x="4295800" y="2416601"/>
            <a:ext cx="1440160" cy="5416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ГП № 2 </a:t>
            </a:r>
          </a:p>
          <a:p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Филиал 1</a:t>
            </a:r>
          </a:p>
        </p:txBody>
      </p:sp>
      <p:sp>
        <p:nvSpPr>
          <p:cNvPr id="63" name="Заголовок 1"/>
          <p:cNvSpPr txBox="1">
            <a:spLocks/>
          </p:cNvSpPr>
          <p:nvPr/>
        </p:nvSpPr>
        <p:spPr>
          <a:xfrm>
            <a:off x="2495600" y="2963306"/>
            <a:ext cx="1440160" cy="88335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77</a:t>
            </a:r>
          </a:p>
        </p:txBody>
      </p:sp>
      <p:sp>
        <p:nvSpPr>
          <p:cNvPr id="64" name="Заголовок 1"/>
          <p:cNvSpPr txBox="1">
            <a:spLocks/>
          </p:cNvSpPr>
          <p:nvPr/>
        </p:nvSpPr>
        <p:spPr>
          <a:xfrm>
            <a:off x="695325" y="3136087"/>
            <a:ext cx="1800275" cy="6890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Число обращений </a:t>
            </a:r>
            <a:endParaRPr lang="en-U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/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за 2023 год</a:t>
            </a:r>
          </a:p>
        </p:txBody>
      </p:sp>
      <p:sp>
        <p:nvSpPr>
          <p:cNvPr id="65" name="Заголовок 1"/>
          <p:cNvSpPr txBox="1">
            <a:spLocks/>
          </p:cNvSpPr>
          <p:nvPr/>
        </p:nvSpPr>
        <p:spPr>
          <a:xfrm>
            <a:off x="4295800" y="2963306"/>
            <a:ext cx="1440160" cy="88335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81</a:t>
            </a:r>
            <a:endParaRPr lang="ru-RU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66" name="Заголовок 1"/>
          <p:cNvSpPr txBox="1">
            <a:spLocks/>
          </p:cNvSpPr>
          <p:nvPr/>
        </p:nvSpPr>
        <p:spPr>
          <a:xfrm>
            <a:off x="6096000" y="2963306"/>
            <a:ext cx="1440160" cy="88335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11</a:t>
            </a:r>
            <a:endParaRPr lang="ru-RU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67" name="Заголовок 1"/>
          <p:cNvSpPr txBox="1">
            <a:spLocks/>
          </p:cNvSpPr>
          <p:nvPr/>
        </p:nvSpPr>
        <p:spPr>
          <a:xfrm>
            <a:off x="7896200" y="2977689"/>
            <a:ext cx="1440160" cy="88335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09</a:t>
            </a:r>
            <a:endParaRPr lang="ru-RU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68" name="Заголовок 1"/>
          <p:cNvSpPr txBox="1">
            <a:spLocks/>
          </p:cNvSpPr>
          <p:nvPr/>
        </p:nvSpPr>
        <p:spPr>
          <a:xfrm>
            <a:off x="9696400" y="2977689"/>
            <a:ext cx="1440160" cy="88335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87</a:t>
            </a:r>
            <a:endParaRPr lang="ru-RU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69" name="Заголовок 1"/>
          <p:cNvSpPr txBox="1">
            <a:spLocks/>
          </p:cNvSpPr>
          <p:nvPr/>
        </p:nvSpPr>
        <p:spPr>
          <a:xfrm>
            <a:off x="2495600" y="2416601"/>
            <a:ext cx="1440160" cy="5416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ГП № 2 </a:t>
            </a:r>
          </a:p>
          <a:p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Гл. здание</a:t>
            </a:r>
          </a:p>
        </p:txBody>
      </p:sp>
      <p:sp>
        <p:nvSpPr>
          <p:cNvPr id="70" name="Заголовок 1"/>
          <p:cNvSpPr txBox="1">
            <a:spLocks/>
          </p:cNvSpPr>
          <p:nvPr/>
        </p:nvSpPr>
        <p:spPr>
          <a:xfrm>
            <a:off x="6095850" y="2416601"/>
            <a:ext cx="1440160" cy="5416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ГП № 2 </a:t>
            </a:r>
          </a:p>
          <a:p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Филиал </a:t>
            </a:r>
            <a:r>
              <a:rPr lang="en-US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</a:t>
            </a:r>
            <a:endParaRPr lang="ru-RU" sz="1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71" name="Заголовок 1"/>
          <p:cNvSpPr txBox="1">
            <a:spLocks/>
          </p:cNvSpPr>
          <p:nvPr/>
        </p:nvSpPr>
        <p:spPr>
          <a:xfrm>
            <a:off x="7900543" y="2416601"/>
            <a:ext cx="1440160" cy="5416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ГП № 2 </a:t>
            </a:r>
          </a:p>
          <a:p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Филиал </a:t>
            </a:r>
            <a:r>
              <a:rPr lang="en-US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3</a:t>
            </a:r>
            <a:endParaRPr lang="ru-RU" sz="1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72" name="Заголовок 1"/>
          <p:cNvSpPr txBox="1">
            <a:spLocks/>
          </p:cNvSpPr>
          <p:nvPr/>
        </p:nvSpPr>
        <p:spPr>
          <a:xfrm>
            <a:off x="9703200" y="2416601"/>
            <a:ext cx="1440160" cy="5416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ГП № 2 </a:t>
            </a:r>
          </a:p>
          <a:p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Филиал </a:t>
            </a:r>
            <a:r>
              <a:rPr lang="en-US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4</a:t>
            </a:r>
            <a:endParaRPr lang="ru-RU" sz="1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73" name="Овал 72"/>
          <p:cNvSpPr/>
          <p:nvPr/>
        </p:nvSpPr>
        <p:spPr>
          <a:xfrm>
            <a:off x="2618135" y="1413043"/>
            <a:ext cx="885577" cy="88557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4" name="Рисунок 7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3025" y="1577933"/>
            <a:ext cx="555797" cy="555797"/>
          </a:xfrm>
          <a:prstGeom prst="rect">
            <a:avLst/>
          </a:prstGeom>
        </p:spPr>
      </p:pic>
      <p:sp>
        <p:nvSpPr>
          <p:cNvPr id="75" name="Овал 74"/>
          <p:cNvSpPr/>
          <p:nvPr/>
        </p:nvSpPr>
        <p:spPr>
          <a:xfrm>
            <a:off x="4419972" y="1413043"/>
            <a:ext cx="885577" cy="88557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6" name="Овал 75"/>
          <p:cNvSpPr/>
          <p:nvPr/>
        </p:nvSpPr>
        <p:spPr>
          <a:xfrm>
            <a:off x="6215339" y="1413043"/>
            <a:ext cx="885577" cy="88557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7" name="Овал 76"/>
          <p:cNvSpPr/>
          <p:nvPr/>
        </p:nvSpPr>
        <p:spPr>
          <a:xfrm>
            <a:off x="8021651" y="1413043"/>
            <a:ext cx="885577" cy="88557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8" name="Овал 77"/>
          <p:cNvSpPr/>
          <p:nvPr/>
        </p:nvSpPr>
        <p:spPr>
          <a:xfrm>
            <a:off x="9821776" y="1413043"/>
            <a:ext cx="885577" cy="88557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9" name="Рисунок 7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1685" y="1614756"/>
            <a:ext cx="482150" cy="482150"/>
          </a:xfrm>
          <a:prstGeom prst="rect">
            <a:avLst/>
          </a:prstGeom>
        </p:spPr>
      </p:pic>
      <p:pic>
        <p:nvPicPr>
          <p:cNvPr id="80" name="Рисунок 7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1145" y="1614756"/>
            <a:ext cx="482150" cy="482150"/>
          </a:xfrm>
          <a:prstGeom prst="rect">
            <a:avLst/>
          </a:prstGeom>
        </p:spPr>
      </p:pic>
      <p:pic>
        <p:nvPicPr>
          <p:cNvPr id="81" name="Рисунок 8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3425" y="1614756"/>
            <a:ext cx="482150" cy="482150"/>
          </a:xfrm>
          <a:prstGeom prst="rect">
            <a:avLst/>
          </a:prstGeom>
        </p:spPr>
      </p:pic>
      <p:pic>
        <p:nvPicPr>
          <p:cNvPr id="82" name="Рисунок 8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1610" y="1614756"/>
            <a:ext cx="482150" cy="482150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01205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898"/>
          <a:stretch/>
        </p:blipFill>
        <p:spPr>
          <a:xfrm>
            <a:off x="0" y="-99392"/>
            <a:ext cx="12192000" cy="6984775"/>
          </a:xfrm>
          <a:prstGeom prst="rect">
            <a:avLst/>
          </a:prstGeom>
        </p:spPr>
      </p:pic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695325" y="549275"/>
            <a:ext cx="10515600" cy="541655"/>
          </a:xfrm>
        </p:spPr>
        <p:txBody>
          <a:bodyPr>
            <a:normAutofit/>
          </a:bodyPr>
          <a:lstStyle/>
          <a:p>
            <a:r>
              <a:rPr lang="ru-RU" sz="3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Кадры за 2020 год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695325" y="549275"/>
            <a:ext cx="10801350" cy="0"/>
          </a:xfrm>
          <a:prstGeom prst="line">
            <a:avLst/>
          </a:prstGeom>
          <a:ln w="57150">
            <a:solidFill>
              <a:srgbClr val="49BE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Скругленный прямоугольник 5"/>
          <p:cNvSpPr/>
          <p:nvPr/>
        </p:nvSpPr>
        <p:spPr>
          <a:xfrm>
            <a:off x="479376" y="1268760"/>
            <a:ext cx="10801350" cy="3456384"/>
          </a:xfrm>
          <a:prstGeom prst="roundRect">
            <a:avLst>
              <a:gd name="adj" fmla="val 195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2711549" y="5730354"/>
            <a:ext cx="885705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 2023 году повышение квалификации прошли </a:t>
            </a:r>
            <a:r>
              <a:rPr lang="ru-RU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12</a:t>
            </a:r>
            <a:r>
              <a:rPr lang="ru-RU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человек</a:t>
            </a:r>
          </a:p>
        </p:txBody>
      </p:sp>
      <p:graphicFrame>
        <p:nvGraphicFramePr>
          <p:cNvPr id="14" name="Диаграмма 13"/>
          <p:cNvGraphicFramePr/>
          <p:nvPr>
            <p:extLst>
              <p:ext uri="{D42A27DB-BD31-4B8C-83A1-F6EECF244321}">
                <p14:modId xmlns:p14="http://schemas.microsoft.com/office/powerpoint/2010/main" val="3832283070"/>
              </p:ext>
            </p:extLst>
          </p:nvPr>
        </p:nvGraphicFramePr>
        <p:xfrm>
          <a:off x="1235601" y="1437278"/>
          <a:ext cx="3024336" cy="32782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5" name="Диаграмма 14"/>
          <p:cNvGraphicFramePr/>
          <p:nvPr>
            <p:extLst>
              <p:ext uri="{D42A27DB-BD31-4B8C-83A1-F6EECF244321}">
                <p14:modId xmlns:p14="http://schemas.microsoft.com/office/powerpoint/2010/main" val="2292905014"/>
              </p:ext>
            </p:extLst>
          </p:nvPr>
        </p:nvGraphicFramePr>
        <p:xfrm>
          <a:off x="4871864" y="1366659"/>
          <a:ext cx="3024336" cy="32782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7" name="Диаграмма 16"/>
          <p:cNvGraphicFramePr/>
          <p:nvPr>
            <p:extLst>
              <p:ext uri="{D42A27DB-BD31-4B8C-83A1-F6EECF244321}">
                <p14:modId xmlns:p14="http://schemas.microsoft.com/office/powerpoint/2010/main" val="1724822745"/>
              </p:ext>
            </p:extLst>
          </p:nvPr>
        </p:nvGraphicFramePr>
        <p:xfrm>
          <a:off x="8654080" y="1436726"/>
          <a:ext cx="3024336" cy="32782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Заголовок 1"/>
          <p:cNvSpPr txBox="1">
            <a:spLocks/>
          </p:cNvSpPr>
          <p:nvPr/>
        </p:nvSpPr>
        <p:spPr>
          <a:xfrm>
            <a:off x="1980937" y="2589406"/>
            <a:ext cx="1326267" cy="8135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49,25</a:t>
            </a:r>
          </a:p>
          <a:p>
            <a:pPr algn="ctr"/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ставок всего</a:t>
            </a: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5589305" y="2506812"/>
            <a:ext cx="1326267" cy="8135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61,00</a:t>
            </a:r>
          </a:p>
          <a:p>
            <a:pPr algn="ctr"/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ставок всего</a:t>
            </a:r>
          </a:p>
        </p:txBody>
      </p:sp>
      <p:sp>
        <p:nvSpPr>
          <p:cNvPr id="19" name="Заголовок 1"/>
          <p:cNvSpPr txBox="1">
            <a:spLocks/>
          </p:cNvSpPr>
          <p:nvPr/>
        </p:nvSpPr>
        <p:spPr>
          <a:xfrm>
            <a:off x="9380953" y="2564904"/>
            <a:ext cx="1326267" cy="8135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36,50</a:t>
            </a:r>
          </a:p>
          <a:p>
            <a:pPr algn="ctr"/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ставок всего</a:t>
            </a: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456" y="5046990"/>
            <a:ext cx="1301950" cy="1301950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920859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5">
            <a:extLst>
              <a:ext uri="{FF2B5EF4-FFF2-40B4-BE49-F238E27FC236}">
                <a16:creationId xmlns:a16="http://schemas.microsoft.com/office/drawing/2014/main" id="{8C044FF5-E3BE-4002-B9A8-A68C4D4A17C2}"/>
              </a:ext>
            </a:extLst>
          </p:cNvPr>
          <p:cNvGrpSpPr/>
          <p:nvPr/>
        </p:nvGrpSpPr>
        <p:grpSpPr>
          <a:xfrm flipH="1" flipV="1">
            <a:off x="-7891" y="-4907"/>
            <a:ext cx="8738567" cy="602589"/>
            <a:chOff x="3254046" y="4745829"/>
            <a:chExt cx="8934778" cy="1817442"/>
          </a:xfrm>
          <a:solidFill>
            <a:srgbClr val="48BED8"/>
          </a:solidFill>
        </p:grpSpPr>
        <p:sp>
          <p:nvSpPr>
            <p:cNvPr id="26" name="Rectangle 3">
              <a:extLst>
                <a:ext uri="{FF2B5EF4-FFF2-40B4-BE49-F238E27FC236}">
                  <a16:creationId xmlns:a16="http://schemas.microsoft.com/office/drawing/2014/main" id="{22C70F5E-4105-42EE-85F4-45683B973A8C}"/>
                </a:ext>
              </a:extLst>
            </p:cNvPr>
            <p:cNvSpPr/>
            <p:nvPr/>
          </p:nvSpPr>
          <p:spPr>
            <a:xfrm>
              <a:off x="3928744" y="4745830"/>
              <a:ext cx="8260080" cy="18174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98027">
                <a:defRPr/>
              </a:pPr>
              <a:endParaRPr lang="en-US" sz="140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7" name="Right Triangle 2">
              <a:extLst>
                <a:ext uri="{FF2B5EF4-FFF2-40B4-BE49-F238E27FC236}">
                  <a16:creationId xmlns:a16="http://schemas.microsoft.com/office/drawing/2014/main" id="{4034A310-3E42-4164-8F6E-0BCE2B134997}"/>
                </a:ext>
              </a:extLst>
            </p:cNvPr>
            <p:cNvSpPr/>
            <p:nvPr/>
          </p:nvSpPr>
          <p:spPr>
            <a:xfrm rot="16200000">
              <a:off x="2688265" y="5311610"/>
              <a:ext cx="1817439" cy="685877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98027">
                <a:defRPr/>
              </a:pPr>
              <a:endParaRPr lang="en-US" sz="1400">
                <a:solidFill>
                  <a:prstClr val="white"/>
                </a:solidFill>
                <a:latin typeface="Calibri"/>
              </a:endParaRPr>
            </a:p>
          </p:txBody>
        </p:sp>
      </p:grp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864714" y="1018"/>
          <a:ext cx="1358" cy="10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180" imgH="180" progId="TCLayout.ActiveDocument.1">
                  <p:embed/>
                </p:oleObj>
              </mc:Choice>
              <mc:Fallback>
                <p:oleObj name="Слайд think-cell" r:id="rId3" imgW="180" imgH="1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864714" y="1018"/>
                        <a:ext cx="1358" cy="10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рямоугольник 12"/>
          <p:cNvSpPr/>
          <p:nvPr/>
        </p:nvSpPr>
        <p:spPr>
          <a:xfrm>
            <a:off x="-8664" y="6500682"/>
            <a:ext cx="12200665" cy="357319"/>
          </a:xfrm>
          <a:prstGeom prst="rect">
            <a:avLst/>
          </a:prstGeom>
          <a:solidFill>
            <a:srgbClr val="48BE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824" tIns="34912" rIns="69824" bIns="34912"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9535423" y="6618727"/>
            <a:ext cx="2866590" cy="194016"/>
          </a:xfrm>
          <a:prstGeom prst="rect">
            <a:avLst/>
          </a:prstGeom>
        </p:spPr>
        <p:txBody>
          <a:bodyPr wrap="square" lIns="69824" tIns="27490" rIns="69824" bIns="27490">
            <a:spAutoFit/>
          </a:bodyPr>
          <a:lstStyle/>
          <a:p>
            <a:r>
              <a:rPr lang="ru-RU" sz="900" dirty="0">
                <a:solidFill>
                  <a:schemeClr val="bg1"/>
                </a:solidFill>
              </a:rPr>
              <a:t>Новый московский стандарт поликлиники</a:t>
            </a: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100000" l="0" r="100000">
                        <a14:foregroundMark x1="33065" y1="12717" x2="51613" y2="21098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263331" y="6597724"/>
            <a:ext cx="306813" cy="214027"/>
          </a:xfrm>
          <a:prstGeom prst="rect">
            <a:avLst/>
          </a:prstGeom>
        </p:spPr>
      </p:pic>
      <p:pic>
        <p:nvPicPr>
          <p:cNvPr id="49" name="Picture 20">
            <a:extLst>
              <a:ext uri="{FF2B5EF4-FFF2-40B4-BE49-F238E27FC236}">
                <a16:creationId xmlns:a16="http://schemas.microsoft.com/office/drawing/2014/main" id="{97B09067-E430-4767-B494-F6665517DB3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77" r="10145"/>
          <a:stretch/>
        </p:blipFill>
        <p:spPr>
          <a:xfrm>
            <a:off x="1332951" y="741199"/>
            <a:ext cx="4662056" cy="2730595"/>
          </a:xfrm>
          <a:prstGeom prst="rect">
            <a:avLst/>
          </a:prstGeom>
        </p:spPr>
      </p:pic>
      <p:pic>
        <p:nvPicPr>
          <p:cNvPr id="51" name="Picture 1">
            <a:extLst>
              <a:ext uri="{FF2B5EF4-FFF2-40B4-BE49-F238E27FC236}">
                <a16:creationId xmlns:a16="http://schemas.microsoft.com/office/drawing/2014/main" id="{82B7A216-09C9-459F-ADCD-C7D9B32EB235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3887" t="5877" r="6057" b="5038"/>
          <a:stretch/>
        </p:blipFill>
        <p:spPr>
          <a:xfrm>
            <a:off x="1332951" y="3579907"/>
            <a:ext cx="4649923" cy="2730595"/>
          </a:xfrm>
          <a:prstGeom prst="rect">
            <a:avLst/>
          </a:prstGeom>
        </p:spPr>
      </p:pic>
      <p:pic>
        <p:nvPicPr>
          <p:cNvPr id="52" name="Picture 2">
            <a:extLst>
              <a:ext uri="{FF2B5EF4-FFF2-40B4-BE49-F238E27FC236}">
                <a16:creationId xmlns:a16="http://schemas.microsoft.com/office/drawing/2014/main" id="{5AD4DFE0-3941-45D3-BDBA-BADE43FC0266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08" r="8437" b="700"/>
          <a:stretch/>
        </p:blipFill>
        <p:spPr>
          <a:xfrm>
            <a:off x="6121336" y="741199"/>
            <a:ext cx="4669581" cy="2730595"/>
          </a:xfrm>
          <a:prstGeom prst="rect">
            <a:avLst/>
          </a:prstGeom>
        </p:spPr>
      </p:pic>
      <p:pic>
        <p:nvPicPr>
          <p:cNvPr id="53" name="Picture 8">
            <a:extLst>
              <a:ext uri="{FF2B5EF4-FFF2-40B4-BE49-F238E27FC236}">
                <a16:creationId xmlns:a16="http://schemas.microsoft.com/office/drawing/2014/main" id="{12A08AC3-455D-4D5C-9119-AE784B8F6036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13057" b="12828"/>
          <a:stretch/>
        </p:blipFill>
        <p:spPr>
          <a:xfrm>
            <a:off x="6121336" y="3579907"/>
            <a:ext cx="4669580" cy="2736566"/>
          </a:xfrm>
          <a:prstGeom prst="rect">
            <a:avLst/>
          </a:prstGeom>
        </p:spPr>
      </p:pic>
      <p:sp>
        <p:nvSpPr>
          <p:cNvPr id="19" name="Прямоугольник 31">
            <a:extLst>
              <a:ext uri="{FF2B5EF4-FFF2-40B4-BE49-F238E27FC236}">
                <a16:creationId xmlns:a16="http://schemas.microsoft.com/office/drawing/2014/main" id="{CCD4883A-7190-4D1B-88E4-FC77E11B897D}"/>
              </a:ext>
            </a:extLst>
          </p:cNvPr>
          <p:cNvSpPr/>
          <p:nvPr/>
        </p:nvSpPr>
        <p:spPr>
          <a:xfrm>
            <a:off x="-122123" y="180974"/>
            <a:ext cx="5615496" cy="366869"/>
          </a:xfrm>
          <a:prstGeom prst="rect">
            <a:avLst/>
          </a:prstGeom>
        </p:spPr>
        <p:txBody>
          <a:bodyPr wrap="square" lIns="69824" tIns="34912" rIns="69824" bIns="34912">
            <a:spAutoFit/>
          </a:bodyPr>
          <a:lstStyle/>
          <a:p>
            <a:pPr marL="138193">
              <a:lnSpc>
                <a:spcPct val="107000"/>
              </a:lnSpc>
              <a:spcBef>
                <a:spcPts val="229"/>
              </a:spcBef>
              <a:defRPr/>
            </a:pPr>
            <a:r>
              <a:rPr lang="ru-RU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ОВЫЙ МОСКОВСКИЙ СТАНДАРТ</a:t>
            </a:r>
          </a:p>
        </p:txBody>
      </p:sp>
      <p:sp>
        <p:nvSpPr>
          <p:cNvPr id="16" name="Заголовок 1"/>
          <p:cNvSpPr>
            <a:spLocks noGrp="1"/>
          </p:cNvSpPr>
          <p:nvPr>
            <p:ph type="title"/>
          </p:nvPr>
        </p:nvSpPr>
        <p:spPr>
          <a:xfrm>
            <a:off x="-137806" y="6272986"/>
            <a:ext cx="6120680" cy="863501"/>
          </a:xfrm>
        </p:spPr>
        <p:txBody>
          <a:bodyPr>
            <a:normAutofit/>
          </a:bodyPr>
          <a:lstStyle/>
          <a:p>
            <a:r>
              <a:rPr lang="ru-RU" sz="3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Капитальный ремонт филиала № 3</a:t>
            </a:r>
          </a:p>
        </p:txBody>
      </p:sp>
    </p:spTree>
    <p:extLst>
      <p:ext uri="{BB962C8B-B14F-4D97-AF65-F5344CB8AC3E}">
        <p14:creationId xmlns:p14="http://schemas.microsoft.com/office/powerpoint/2010/main" val="30461629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Другая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9BED8"/>
      </a:accent1>
      <a:accent2>
        <a:srgbClr val="ED7D31"/>
      </a:accent2>
      <a:accent3>
        <a:srgbClr val="A5A5A5"/>
      </a:accent3>
      <a:accent4>
        <a:srgbClr val="FFC000"/>
      </a:accent4>
      <a:accent5>
        <a:srgbClr val="49BED8"/>
      </a:accent5>
      <a:accent6>
        <a:srgbClr val="70AD47"/>
      </a:accent6>
      <a:hlink>
        <a:srgbClr val="49BED8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26</TotalTime>
  <Words>664</Words>
  <Application>Microsoft Office PowerPoint</Application>
  <PresentationFormat>Широкоэкранный</PresentationFormat>
  <Paragraphs>179</Paragraphs>
  <Slides>1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8" baseType="lpstr">
      <vt:lpstr>Arial</vt:lpstr>
      <vt:lpstr>Calibri</vt:lpstr>
      <vt:lpstr>Calibri Light</vt:lpstr>
      <vt:lpstr>Roboto</vt:lpstr>
      <vt:lpstr>Verdana</vt:lpstr>
      <vt:lpstr>Тема Office</vt:lpstr>
      <vt:lpstr>Слайд think-cell</vt:lpstr>
      <vt:lpstr>Годовой отчет</vt:lpstr>
      <vt:lpstr>Основные показатели</vt:lpstr>
      <vt:lpstr>Дорогостоящее оборудование поликлиники</vt:lpstr>
      <vt:lpstr>Презентация PowerPoint</vt:lpstr>
      <vt:lpstr>Прививочная работа: гепатит, корь, краснуха, дифтерия</vt:lpstr>
      <vt:lpstr>Основные показатели. Инвалиды  и участники ВОВ</vt:lpstr>
      <vt:lpstr>Работа по рассмотрению жалоб и обращений граждан</vt:lpstr>
      <vt:lpstr>Кадры за 2020 год</vt:lpstr>
      <vt:lpstr>Капитальный ремонт филиала № 3</vt:lpstr>
      <vt:lpstr>Презентация PowerPoint</vt:lpstr>
      <vt:lpstr>Годовой отчет  Главного врача ГБУЗ «ГП №2 ДЗМ»  за 2023 год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Годовой отчет</dc:title>
  <dc:creator>Тихонов Евгений Юрьевич</dc:creator>
  <cp:lastModifiedBy>Наталья Шиндряева</cp:lastModifiedBy>
  <cp:revision>220</cp:revision>
  <cp:lastPrinted>2019-02-21T07:39:25Z</cp:lastPrinted>
  <dcterms:created xsi:type="dcterms:W3CDTF">2019-02-11T07:19:05Z</dcterms:created>
  <dcterms:modified xsi:type="dcterms:W3CDTF">2024-02-20T11:29:16Z</dcterms:modified>
</cp:coreProperties>
</file>